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8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9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918" r:id="rId4"/>
    <p:sldMasterId id="2147484118" r:id="rId5"/>
    <p:sldMasterId id="2147484160" r:id="rId6"/>
    <p:sldMasterId id="2147484190" r:id="rId7"/>
    <p:sldMasterId id="2147484254" r:id="rId8"/>
    <p:sldMasterId id="2147484286" r:id="rId9"/>
    <p:sldMasterId id="2147484332" r:id="rId10"/>
    <p:sldMasterId id="2147484369" r:id="rId11"/>
    <p:sldMasterId id="2147484428" r:id="rId12"/>
    <p:sldMasterId id="2147484464" r:id="rId13"/>
  </p:sldMasterIdLst>
  <p:notesMasterIdLst>
    <p:notesMasterId r:id="rId22"/>
  </p:notesMasterIdLst>
  <p:handoutMasterIdLst>
    <p:handoutMasterId r:id="rId23"/>
  </p:handoutMasterIdLst>
  <p:sldIdLst>
    <p:sldId id="2147473080" r:id="rId14"/>
    <p:sldId id="2147470990" r:id="rId15"/>
    <p:sldId id="2147473028" r:id="rId16"/>
    <p:sldId id="2147473082" r:id="rId17"/>
    <p:sldId id="2147473067" r:id="rId18"/>
    <p:sldId id="2147473066" r:id="rId19"/>
    <p:sldId id="289" r:id="rId20"/>
    <p:sldId id="2147470992" r:id="rId21"/>
  </p:sldIdLst>
  <p:sldSz cx="14630400" cy="8229600"/>
  <p:notesSz cx="6858000" cy="9144000"/>
  <p:defaultTextStyle>
    <a:defPPr>
      <a:defRPr lang="en-US"/>
    </a:defPPr>
    <a:lvl1pPr marL="0" algn="l" defTabSz="73152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73152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73152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73152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73152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73152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9" userDrawn="1">
          <p15:clr>
            <a:srgbClr val="A4A3A4"/>
          </p15:clr>
        </p15:guide>
        <p15:guide id="2" pos="49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EF5512-45B4-D816-1BA5-0EE02C330407}" name="Kristy Cunningham" initials="KC" userId="da0ba712f23a37ab" providerId="Windows Live"/>
  <p188:author id="{A0132A4A-7210-7A77-C561-D1B7977F0050}" name="thedianavi@outlook.com" initials="" userId="079fcc33cc1dc987" providerId="Windows Live"/>
  <p188:author id="{C2A1BB81-455A-944E-AFA4-A7CA514E02F9}" name="Bari Cener" initials="BC" userId="S::bcener@sage-growth.com::0f787747-5d53-4fee-aaa9-0361a4dcf654" providerId="AD"/>
  <p188:author id="{65364DE5-3956-115E-D411-926536877A3D}" name="Diana Vigo" initials="DV" userId="Diana Vigo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na - Mycrosoft B." initials="M-M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FEF"/>
    <a:srgbClr val="58585A"/>
    <a:srgbClr val="444FA2"/>
    <a:srgbClr val="0D274D"/>
    <a:srgbClr val="F2F2F2"/>
    <a:srgbClr val="FFFFFF"/>
    <a:srgbClr val="22235E"/>
    <a:srgbClr val="242563"/>
    <a:srgbClr val="525458"/>
    <a:srgbClr val="20235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F0DCCC-002E-4692-8D33-305D0D513E3D}" v="347" dt="2024-06-25T15:28:45.050"/>
    <p1510:client id="{C39560A6-D73A-547C-53E3-65758A89C583}" v="1" dt="2024-06-25T15:20:44.256"/>
  </p1510:revLst>
</p1510:revInfo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008" autoAdjust="0"/>
    <p:restoredTop sz="94744" autoAdjust="0"/>
  </p:normalViewPr>
  <p:slideViewPr>
    <p:cSldViewPr snapToGrid="0">
      <p:cViewPr varScale="1">
        <p:scale>
          <a:sx n="69" d="100"/>
          <a:sy n="69" d="100"/>
        </p:scale>
        <p:origin x="1118" y="-653"/>
      </p:cViewPr>
      <p:guideLst>
        <p:guide orient="horz" pos="959"/>
        <p:guide pos="49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720"/>
    </p:cViewPr>
  </p:sorterViewPr>
  <p:notesViewPr>
    <p:cSldViewPr snapToGrid="0">
      <p:cViewPr>
        <p:scale>
          <a:sx n="1" d="2"/>
          <a:sy n="1" d="2"/>
        </p:scale>
        <p:origin x="3403" y="62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EBBC65-1C56-E94B-8FE0-5F05509AABB4}" type="datetimeFigureOut">
              <a:rPr lang="en-US" smtClean="0">
                <a:latin typeface="Arial" panose="020B0604020202020204" pitchFamily="34" charset="0"/>
              </a:rPr>
              <a:t>6/25/2024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23FA5D-F361-104C-B07C-3C41189EB28E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7414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3B2B49D-DCD9-404A-8C47-9D49E53E665C}" type="datetimeFigureOut">
              <a:rPr lang="en-US" smtClean="0"/>
              <a:pPr/>
              <a:t>6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B818371-2687-6B44-9875-E21728B532A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8835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731520" algn="l" defTabSz="731520" rtl="0" eaLnBrk="1" latinLnBrk="0" hangingPunct="1">
      <a:defRPr sz="1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463040" algn="l" defTabSz="731520" rtl="0" eaLnBrk="1" latinLnBrk="0" hangingPunct="1">
      <a:defRPr sz="1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2194560" algn="l" defTabSz="731520" rtl="0" eaLnBrk="1" latinLnBrk="0" hangingPunct="1">
      <a:defRPr sz="1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926080" algn="l" defTabSz="731520" rtl="0" eaLnBrk="1" latinLnBrk="0" hangingPunct="1">
      <a:defRPr sz="1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657600" algn="l" defTabSz="73152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818371-2687-6B44-9875-E21728B532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pPr marL="0" marR="0" lvl="0" indent="0" algn="r" defTabSz="7315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2966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818371-2687-6B44-9875-E21728B532A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6170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818371-2687-6B44-9875-E21728B532A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313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" Target="../slides/slide5.xml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" Target="../slides/slide5.xml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" Target="../slides/slide5.xml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sv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" Target="../slides/slide5.xml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" Target="../slides/slide5.xml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sv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6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png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90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16851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rea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white and black logo&#10;&#10;Description automatically generated">
            <a:extLst>
              <a:ext uri="{FF2B5EF4-FFF2-40B4-BE49-F238E27FC236}">
                <a16:creationId xmlns:a16="http://schemas.microsoft.com/office/drawing/2014/main" id="{9601EC8A-3637-2C0F-4542-C4DCE6FC3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5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10704" y="0"/>
            <a:ext cx="6184900" cy="317122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 userDrawn="1"/>
        </p:nvSpPr>
        <p:spPr>
          <a:xfrm>
            <a:off x="-1" y="3171219"/>
            <a:ext cx="14630401" cy="5058382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rgbClr val="EFEFE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4E2A8BB-313A-7F7C-EBA3-3C5248E77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51" y="665901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35B04A97-FCD6-50CC-AB58-B97CF65E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4927322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C72D8B3E-E004-AF6D-4C75-D32640D1F0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2" y="322822"/>
            <a:ext cx="1654547" cy="437676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C48B77-DE6A-E4C4-DAEE-30B8F130C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C5C54B9-BC33-4775-13B7-7CCEC1EFBB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28677" y="29274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© 2024 MEDECISION, INC. PROPRIETARY AND CONFIDENTI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B18CA32-3DAD-76AE-1206-B4537FFE2CD3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9B4A9B9-9391-8607-29FB-39CA25EED6D0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19742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2-Line Header w Sub + Img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FF5D750F-AE4F-C642-84BD-509C36C2713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06999" y="0"/>
            <a:ext cx="6323401" cy="82296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="0" i="0"/>
            </a:lvl1pPr>
          </a:lstStyle>
          <a:p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643669EC-5565-4CF0-B2DC-8E8B6FD70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8" y="2137144"/>
            <a:ext cx="7180072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D10F0A1C-8E74-46D1-9926-D262C75613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7180073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0F44AA7A-BFA4-3C4C-B548-63E889EBFC0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7E8F324-B867-18C9-77D2-40842743E77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1A7B22-F745-E922-AC4D-E360811FE36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1452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. 2-Line Head w Sub + Img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6323401" cy="82296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="0" i="0"/>
            </a:lvl1pPr>
          </a:lstStyle>
          <a:p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495E0152-5918-49BB-9706-9FFF997675F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91516" y="2137144"/>
            <a:ext cx="7180072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49C9559-FF37-4F92-9ABB-54ED6384F3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1515" y="731520"/>
            <a:ext cx="7180073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</a:t>
            </a:r>
          </a:p>
        </p:txBody>
      </p:sp>
      <p:sp>
        <p:nvSpPr>
          <p:cNvPr id="17" name="Content Placeholder 7">
            <a:extLst>
              <a:ext uri="{FF2B5EF4-FFF2-40B4-BE49-F238E27FC236}">
                <a16:creationId xmlns:a16="http://schemas.microsoft.com/office/drawing/2014/main" id="{D0CB09C5-7CA2-8D49-9A7C-72E375DCA29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91515" y="1363163"/>
            <a:ext cx="7180073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470B6D-DC9D-E6C1-F4B2-B2DC01323FB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130D8B-4FE6-3016-AE83-B28DECBAA9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87741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a. 1-Line Header w Block Img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867014" y="2137144"/>
            <a:ext cx="4763385" cy="521774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="0" i="0"/>
            </a:lvl1pPr>
          </a:lstStyle>
          <a:p>
            <a:endParaRPr lang="en-US" dirty="0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7ABF9371-7356-46F3-AD10-B9FFACCD39A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8" y="2137144"/>
            <a:ext cx="8774956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911C3F2-E425-4DBD-9E12-4B9ADAE776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4201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96361A03-7A6A-334D-AC50-8ADF1A5BB8D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DDC0C59-27FD-881C-1D10-973A0D7618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90952C-B711-8636-C693-A8535CBF4F2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5373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1a. 1-Line Header w Block Img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494588" y="2141298"/>
            <a:ext cx="7135812" cy="5185316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="0" i="0"/>
            </a:lvl1pPr>
          </a:lstStyle>
          <a:p>
            <a:endParaRPr lang="en-US" dirty="0"/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97B200AA-F5AF-4014-90F6-54647E36F4B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8" y="2137144"/>
            <a:ext cx="6458425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43B12E05-1631-4178-B788-B2B54EE501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4201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44A279D5-99EE-B049-A9AC-7EC9146A6CB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B6BC463-BF57-156F-1625-8ED4A587C18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B99D40-EB5F-1773-640E-ABC20FC9826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240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4. Closing Mess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5F4CE9B-F2DC-4CC7-BAC6-499C31421D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2073" y="-1909679"/>
            <a:ext cx="12048958" cy="1204895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EEB56CB-20CB-BC4B-B883-FAE9150966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0401" y="3086930"/>
            <a:ext cx="13249564" cy="236137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36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84C6120-7191-422D-8144-44AE52BCCA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EED2537-A324-4C07-9828-1761F3ECC3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bg1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EF98F80-BD82-7042-9DB0-BCC6B79BFDB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5531" y="742030"/>
            <a:ext cx="3302406" cy="87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98444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. Closing Mess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7BF0A895-04CF-4A76-A6EA-DACD5E40B1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5279" y="-1909679"/>
            <a:ext cx="12048958" cy="1204895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EEB56CB-20CB-BC4B-B883-FAE9150966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0401" y="3086930"/>
            <a:ext cx="13249564" cy="236137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36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3CD50D3-6DFA-46FB-96AD-A701F4793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12B2EBF-5D36-41A3-B5A3-AA23C7964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bg1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B081436-7D8C-234D-BB9C-AE434207604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5531" y="742030"/>
            <a:ext cx="3302406" cy="87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62281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4. Closing Mess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DEEB56CB-20CB-BC4B-B883-FAE9150966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0401" y="3086930"/>
            <a:ext cx="13249564" cy="236137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36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3CD50D3-6DFA-46FB-96AD-A701F4793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12B2EBF-5D36-41A3-B5A3-AA23C7964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bg1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18090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4. Closing Mess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7BF0A895-04CF-4A76-A6EA-DACD5E40B1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5279" y="-1909679"/>
            <a:ext cx="12048958" cy="1204895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EEB56CB-20CB-BC4B-B883-FAE9150966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0401" y="3086930"/>
            <a:ext cx="13249564" cy="236137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36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3CD50D3-6DFA-46FB-96AD-A701F4793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12B2EBF-5D36-41A3-B5A3-AA23C7964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bg1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A17CE76-A8BF-874A-A0DD-23A46A71F54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5531" y="742030"/>
            <a:ext cx="3302406" cy="87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78147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4. Closing Messa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7BF0A895-04CF-4A76-A6EA-DACD5E40B1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5279" y="-1909679"/>
            <a:ext cx="12048958" cy="1204895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EEB56CB-20CB-BC4B-B883-FAE9150966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0401" y="3086930"/>
            <a:ext cx="13249564" cy="236137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36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3CD50D3-6DFA-46FB-96AD-A701F4793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12B2EBF-5D36-41A3-B5A3-AA23C7964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bg1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CDCF456-8F58-C740-82D5-F3D15F7C91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5531" y="742030"/>
            <a:ext cx="3302406" cy="87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0481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4. Closing Mess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7BF0A895-04CF-4A76-A6EA-DACD5E40B1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5279" y="-1909679"/>
            <a:ext cx="12048958" cy="12048958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DEEB56CB-20CB-BC4B-B883-FAE9150966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0401" y="3086930"/>
            <a:ext cx="13249564" cy="2361370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US" sz="36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3CD50D3-6DFA-46FB-96AD-A701F4793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12B2EBF-5D36-41A3-B5A3-AA23C7964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bg1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3FAE5B4-12FD-A349-9641-022A5FF09C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5531" y="742030"/>
            <a:ext cx="3302406" cy="87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7724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9CE615-BF00-B94F-3F1C-0F5FE0D35ACD}"/>
              </a:ext>
            </a:extLst>
          </p:cNvPr>
          <p:cNvCxnSpPr>
            <a:cxnSpLocks/>
          </p:cNvCxnSpPr>
          <p:nvPr/>
        </p:nvCxnSpPr>
        <p:spPr>
          <a:xfrm>
            <a:off x="8495500" y="2419720"/>
            <a:ext cx="546520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C4B466F-C398-4662-0A40-BFDCD8262C5C}"/>
              </a:ext>
            </a:extLst>
          </p:cNvPr>
          <p:cNvCxnSpPr>
            <a:cxnSpLocks/>
          </p:cNvCxnSpPr>
          <p:nvPr/>
        </p:nvCxnSpPr>
        <p:spPr>
          <a:xfrm>
            <a:off x="8495500" y="3213121"/>
            <a:ext cx="546520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4761F54-6C6C-3133-F091-8E335269F84A}"/>
              </a:ext>
            </a:extLst>
          </p:cNvPr>
          <p:cNvCxnSpPr>
            <a:cxnSpLocks/>
          </p:cNvCxnSpPr>
          <p:nvPr/>
        </p:nvCxnSpPr>
        <p:spPr>
          <a:xfrm>
            <a:off x="8495500" y="4006522"/>
            <a:ext cx="546520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91A0062-C504-F98F-0360-0C50A282DE55}"/>
              </a:ext>
            </a:extLst>
          </p:cNvPr>
          <p:cNvCxnSpPr>
            <a:cxnSpLocks/>
          </p:cNvCxnSpPr>
          <p:nvPr/>
        </p:nvCxnSpPr>
        <p:spPr>
          <a:xfrm>
            <a:off x="8495500" y="4799923"/>
            <a:ext cx="546520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9">
            <a:extLst>
              <a:ext uri="{FF2B5EF4-FFF2-40B4-BE49-F238E27FC236}">
                <a16:creationId xmlns:a16="http://schemas.microsoft.com/office/drawing/2014/main" id="{2E35D605-CC3A-26C2-0C2A-C72604A733E6}"/>
              </a:ext>
            </a:extLst>
          </p:cNvPr>
          <p:cNvSpPr txBox="1">
            <a:spLocks/>
          </p:cNvSpPr>
          <p:nvPr/>
        </p:nvSpPr>
        <p:spPr>
          <a:xfrm>
            <a:off x="7772280" y="186312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1" name="Title 9">
            <a:extLst>
              <a:ext uri="{FF2B5EF4-FFF2-40B4-BE49-F238E27FC236}">
                <a16:creationId xmlns:a16="http://schemas.microsoft.com/office/drawing/2014/main" id="{4B2C04BC-286F-3C7F-FDEC-20ACBB0A8C15}"/>
              </a:ext>
            </a:extLst>
          </p:cNvPr>
          <p:cNvSpPr txBox="1">
            <a:spLocks/>
          </p:cNvSpPr>
          <p:nvPr/>
        </p:nvSpPr>
        <p:spPr>
          <a:xfrm>
            <a:off x="7772280" y="2667158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14B06336-7327-C964-8D2C-527B45940FBC}"/>
              </a:ext>
            </a:extLst>
          </p:cNvPr>
          <p:cNvSpPr txBox="1">
            <a:spLocks/>
          </p:cNvSpPr>
          <p:nvPr/>
        </p:nvSpPr>
        <p:spPr>
          <a:xfrm>
            <a:off x="7772280" y="34494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129BDE67-5220-8F67-04CF-2F235A9702C5}"/>
              </a:ext>
            </a:extLst>
          </p:cNvPr>
          <p:cNvSpPr txBox="1">
            <a:spLocks/>
          </p:cNvSpPr>
          <p:nvPr/>
        </p:nvSpPr>
        <p:spPr>
          <a:xfrm>
            <a:off x="7772280" y="424287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C2E2455-EAEB-1EA4-BD15-2C41E3556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95500" y="1909130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0E5B660-0CC3-BF26-5916-82E3ADA2C1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95500" y="2702531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A930B824-518E-B601-E5BE-0ED4BF887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95500" y="3485045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567ADC4-8253-FC75-B797-5AD245806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95500" y="4289337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905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1367">
          <p15:clr>
            <a:srgbClr val="FBAE40"/>
          </p15:clr>
        </p15:guide>
        <p15:guide id="3" orient="horz" pos="105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rId2" action="ppaction://hlinksldjump"/>
            <a:extLst>
              <a:ext uri="{FF2B5EF4-FFF2-40B4-BE49-F238E27FC236}">
                <a16:creationId xmlns:a16="http://schemas.microsoft.com/office/drawing/2014/main" id="{B0F5F316-B60A-0947-854D-8849CA1E19CF}"/>
              </a:ext>
            </a:extLst>
          </p:cNvPr>
          <p:cNvSpPr/>
          <p:nvPr userDrawn="1"/>
        </p:nvSpPr>
        <p:spPr>
          <a:xfrm>
            <a:off x="1" y="3"/>
            <a:ext cx="5034254" cy="8229598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8946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</a:endParaRPr>
          </a:p>
        </p:txBody>
      </p:sp>
      <p:sp>
        <p:nvSpPr>
          <p:cNvPr id="42" name="Title 9">
            <a:extLst>
              <a:ext uri="{FF2B5EF4-FFF2-40B4-BE49-F238E27FC236}">
                <a16:creationId xmlns:a16="http://schemas.microsoft.com/office/drawing/2014/main" id="{FF542652-F6F5-0E47-96C0-9CDE9CEE1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928" y="2002976"/>
            <a:ext cx="3473754" cy="1965390"/>
          </a:xfrm>
        </p:spPr>
        <p:txBody>
          <a:bodyPr anchor="t"/>
          <a:lstStyle>
            <a:lvl1pPr>
              <a:defRPr sz="360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ext Styles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D01C10BF-070F-E04E-B8AD-8A6AB4267D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3928" y="4288011"/>
            <a:ext cx="3472870" cy="1784728"/>
          </a:xfrm>
        </p:spPr>
        <p:txBody>
          <a:bodyPr/>
          <a:lstStyle>
            <a:lvl1pPr marL="0" indent="0">
              <a:buNone/>
              <a:defRPr sz="1920" b="0" i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C9909625-C924-5C4B-A25A-965AEF0D613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35999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85885235-5F03-9F44-BC12-000C4288B00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0595478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FB27104A-02B0-4D71-AAA8-309D9428F9FB}"/>
              </a:ext>
            </a:extLst>
          </p:cNvPr>
          <p:cNvSpPr/>
          <p:nvPr userDrawn="1"/>
        </p:nvSpPr>
        <p:spPr>
          <a:xfrm>
            <a:off x="11639347" y="1991217"/>
            <a:ext cx="1032516" cy="1060076"/>
          </a:xfrm>
          <a:custGeom>
            <a:avLst/>
            <a:gdLst>
              <a:gd name="connsiteX0" fmla="*/ 603671 w 1032516"/>
              <a:gd name="connsiteY0" fmla="*/ 2158 h 1060076"/>
              <a:gd name="connsiteX1" fmla="*/ 579763 w 1032516"/>
              <a:gd name="connsiteY1" fmla="*/ 664 h 1060076"/>
              <a:gd name="connsiteX2" fmla="*/ 458730 w 1032516"/>
              <a:gd name="connsiteY2" fmla="*/ 664 h 1060076"/>
              <a:gd name="connsiteX3" fmla="*/ 395972 w 1032516"/>
              <a:gd name="connsiteY3" fmla="*/ 9629 h 1060076"/>
              <a:gd name="connsiteX4" fmla="*/ 330226 w 1032516"/>
              <a:gd name="connsiteY4" fmla="*/ 32043 h 1060076"/>
              <a:gd name="connsiteX5" fmla="*/ 316778 w 1032516"/>
              <a:gd name="connsiteY5" fmla="*/ 38020 h 1060076"/>
              <a:gd name="connsiteX6" fmla="*/ 279422 w 1032516"/>
              <a:gd name="connsiteY6" fmla="*/ 57445 h 1060076"/>
              <a:gd name="connsiteX7" fmla="*/ 271951 w 1032516"/>
              <a:gd name="connsiteY7" fmla="*/ 61928 h 1060076"/>
              <a:gd name="connsiteX8" fmla="*/ 239078 w 1032516"/>
              <a:gd name="connsiteY8" fmla="*/ 81353 h 1060076"/>
              <a:gd name="connsiteX9" fmla="*/ 236089 w 1032516"/>
              <a:gd name="connsiteY9" fmla="*/ 82847 h 1060076"/>
              <a:gd name="connsiteX10" fmla="*/ 200228 w 1032516"/>
              <a:gd name="connsiteY10" fmla="*/ 103766 h 1060076"/>
              <a:gd name="connsiteX11" fmla="*/ 186779 w 1032516"/>
              <a:gd name="connsiteY11" fmla="*/ 112732 h 1060076"/>
              <a:gd name="connsiteX12" fmla="*/ 182297 w 1032516"/>
              <a:gd name="connsiteY12" fmla="*/ 115720 h 1060076"/>
              <a:gd name="connsiteX13" fmla="*/ 140458 w 1032516"/>
              <a:gd name="connsiteY13" fmla="*/ 154570 h 1060076"/>
              <a:gd name="connsiteX14" fmla="*/ 137470 w 1032516"/>
              <a:gd name="connsiteY14" fmla="*/ 157559 h 1060076"/>
              <a:gd name="connsiteX15" fmla="*/ 77700 w 1032516"/>
              <a:gd name="connsiteY15" fmla="*/ 224799 h 1060076"/>
              <a:gd name="connsiteX16" fmla="*/ 52298 w 1032516"/>
              <a:gd name="connsiteY16" fmla="*/ 259167 h 1060076"/>
              <a:gd name="connsiteX17" fmla="*/ 19425 w 1032516"/>
              <a:gd name="connsiteY17" fmla="*/ 315948 h 1060076"/>
              <a:gd name="connsiteX18" fmla="*/ 4483 w 1032516"/>
              <a:gd name="connsiteY18" fmla="*/ 368246 h 1060076"/>
              <a:gd name="connsiteX19" fmla="*/ 1494 w 1032516"/>
              <a:gd name="connsiteY19" fmla="*/ 387671 h 1060076"/>
              <a:gd name="connsiteX20" fmla="*/ 0 w 1032516"/>
              <a:gd name="connsiteY20" fmla="*/ 451923 h 1060076"/>
              <a:gd name="connsiteX21" fmla="*/ 8965 w 1032516"/>
              <a:gd name="connsiteY21" fmla="*/ 532612 h 1060076"/>
              <a:gd name="connsiteX22" fmla="*/ 22414 w 1032516"/>
              <a:gd name="connsiteY22" fmla="*/ 601347 h 1060076"/>
              <a:gd name="connsiteX23" fmla="*/ 31379 w 1032516"/>
              <a:gd name="connsiteY23" fmla="*/ 635714 h 1060076"/>
              <a:gd name="connsiteX24" fmla="*/ 62758 w 1032516"/>
              <a:gd name="connsiteY24" fmla="*/ 719391 h 1060076"/>
              <a:gd name="connsiteX25" fmla="*/ 94137 w 1032516"/>
              <a:gd name="connsiteY25" fmla="*/ 782149 h 1060076"/>
              <a:gd name="connsiteX26" fmla="*/ 101608 w 1032516"/>
              <a:gd name="connsiteY26" fmla="*/ 795597 h 1060076"/>
              <a:gd name="connsiteX27" fmla="*/ 153906 w 1032516"/>
              <a:gd name="connsiteY27" fmla="*/ 879275 h 1060076"/>
              <a:gd name="connsiteX28" fmla="*/ 155400 w 1032516"/>
              <a:gd name="connsiteY28" fmla="*/ 880769 h 1060076"/>
              <a:gd name="connsiteX29" fmla="*/ 173331 w 1032516"/>
              <a:gd name="connsiteY29" fmla="*/ 904676 h 1060076"/>
              <a:gd name="connsiteX30" fmla="*/ 180802 w 1032516"/>
              <a:gd name="connsiteY30" fmla="*/ 913642 h 1060076"/>
              <a:gd name="connsiteX31" fmla="*/ 233101 w 1032516"/>
              <a:gd name="connsiteY31" fmla="*/ 965940 h 1060076"/>
              <a:gd name="connsiteX32" fmla="*/ 277928 w 1032516"/>
              <a:gd name="connsiteY32" fmla="*/ 995825 h 1060076"/>
              <a:gd name="connsiteX33" fmla="*/ 348157 w 1032516"/>
              <a:gd name="connsiteY33" fmla="*/ 1025710 h 1060076"/>
              <a:gd name="connsiteX34" fmla="*/ 352640 w 1032516"/>
              <a:gd name="connsiteY34" fmla="*/ 1027204 h 1060076"/>
              <a:gd name="connsiteX35" fmla="*/ 401949 w 1032516"/>
              <a:gd name="connsiteY35" fmla="*/ 1045135 h 1060076"/>
              <a:gd name="connsiteX36" fmla="*/ 481144 w 1032516"/>
              <a:gd name="connsiteY36" fmla="*/ 1058583 h 1060076"/>
              <a:gd name="connsiteX37" fmla="*/ 512523 w 1032516"/>
              <a:gd name="connsiteY37" fmla="*/ 1060077 h 1060076"/>
              <a:gd name="connsiteX38" fmla="*/ 521488 w 1032516"/>
              <a:gd name="connsiteY38" fmla="*/ 1060077 h 1060076"/>
              <a:gd name="connsiteX39" fmla="*/ 549879 w 1032516"/>
              <a:gd name="connsiteY39" fmla="*/ 1060077 h 1060076"/>
              <a:gd name="connsiteX40" fmla="*/ 554361 w 1032516"/>
              <a:gd name="connsiteY40" fmla="*/ 1060077 h 1060076"/>
              <a:gd name="connsiteX41" fmla="*/ 585740 w 1032516"/>
              <a:gd name="connsiteY41" fmla="*/ 1058583 h 1060076"/>
              <a:gd name="connsiteX42" fmla="*/ 593212 w 1032516"/>
              <a:gd name="connsiteY42" fmla="*/ 1058583 h 1060076"/>
              <a:gd name="connsiteX43" fmla="*/ 624590 w 1032516"/>
              <a:gd name="connsiteY43" fmla="*/ 1055594 h 1060076"/>
              <a:gd name="connsiteX44" fmla="*/ 684360 w 1032516"/>
              <a:gd name="connsiteY44" fmla="*/ 1043640 h 1060076"/>
              <a:gd name="connsiteX45" fmla="*/ 753095 w 1032516"/>
              <a:gd name="connsiteY45" fmla="*/ 1019733 h 1060076"/>
              <a:gd name="connsiteX46" fmla="*/ 760566 w 1032516"/>
              <a:gd name="connsiteY46" fmla="*/ 1016744 h 1060076"/>
              <a:gd name="connsiteX47" fmla="*/ 830795 w 1032516"/>
              <a:gd name="connsiteY47" fmla="*/ 977894 h 1060076"/>
              <a:gd name="connsiteX48" fmla="*/ 884587 w 1032516"/>
              <a:gd name="connsiteY48" fmla="*/ 934561 h 1060076"/>
              <a:gd name="connsiteX49" fmla="*/ 935391 w 1032516"/>
              <a:gd name="connsiteY49" fmla="*/ 880769 h 1060076"/>
              <a:gd name="connsiteX50" fmla="*/ 977230 w 1032516"/>
              <a:gd name="connsiteY50" fmla="*/ 816517 h 1060076"/>
              <a:gd name="connsiteX51" fmla="*/ 1004126 w 1032516"/>
              <a:gd name="connsiteY51" fmla="*/ 746288 h 1060076"/>
              <a:gd name="connsiteX52" fmla="*/ 1014586 w 1032516"/>
              <a:gd name="connsiteY52" fmla="*/ 704449 h 1060076"/>
              <a:gd name="connsiteX53" fmla="*/ 1023551 w 1032516"/>
              <a:gd name="connsiteY53" fmla="*/ 655139 h 1060076"/>
              <a:gd name="connsiteX54" fmla="*/ 1026540 w 1032516"/>
              <a:gd name="connsiteY54" fmla="*/ 637208 h 1060076"/>
              <a:gd name="connsiteX55" fmla="*/ 1028034 w 1032516"/>
              <a:gd name="connsiteY55" fmla="*/ 629737 h 1060076"/>
              <a:gd name="connsiteX56" fmla="*/ 1029528 w 1032516"/>
              <a:gd name="connsiteY56" fmla="*/ 613301 h 1060076"/>
              <a:gd name="connsiteX57" fmla="*/ 1031022 w 1032516"/>
              <a:gd name="connsiteY57" fmla="*/ 598358 h 1060076"/>
              <a:gd name="connsiteX58" fmla="*/ 1032517 w 1032516"/>
              <a:gd name="connsiteY58" fmla="*/ 553531 h 1060076"/>
              <a:gd name="connsiteX59" fmla="*/ 1029528 w 1032516"/>
              <a:gd name="connsiteY59" fmla="*/ 507210 h 1060076"/>
              <a:gd name="connsiteX60" fmla="*/ 1025046 w 1032516"/>
              <a:gd name="connsiteY60" fmla="*/ 462383 h 1060076"/>
              <a:gd name="connsiteX61" fmla="*/ 1019069 w 1032516"/>
              <a:gd name="connsiteY61" fmla="*/ 417556 h 1060076"/>
              <a:gd name="connsiteX62" fmla="*/ 1011597 w 1032516"/>
              <a:gd name="connsiteY62" fmla="*/ 377211 h 1060076"/>
              <a:gd name="connsiteX63" fmla="*/ 1011597 w 1032516"/>
              <a:gd name="connsiteY63" fmla="*/ 374223 h 1060076"/>
              <a:gd name="connsiteX64" fmla="*/ 999644 w 1032516"/>
              <a:gd name="connsiteY64" fmla="*/ 332384 h 1060076"/>
              <a:gd name="connsiteX65" fmla="*/ 995161 w 1032516"/>
              <a:gd name="connsiteY65" fmla="*/ 317442 h 1060076"/>
              <a:gd name="connsiteX66" fmla="*/ 990678 w 1032516"/>
              <a:gd name="connsiteY66" fmla="*/ 305488 h 1060076"/>
              <a:gd name="connsiteX67" fmla="*/ 987690 w 1032516"/>
              <a:gd name="connsiteY67" fmla="*/ 299511 h 1060076"/>
              <a:gd name="connsiteX68" fmla="*/ 977230 w 1032516"/>
              <a:gd name="connsiteY68" fmla="*/ 268132 h 1060076"/>
              <a:gd name="connsiteX69" fmla="*/ 941368 w 1032516"/>
              <a:gd name="connsiteY69" fmla="*/ 202386 h 1060076"/>
              <a:gd name="connsiteX70" fmla="*/ 902518 w 1032516"/>
              <a:gd name="connsiteY70" fmla="*/ 154570 h 1060076"/>
              <a:gd name="connsiteX71" fmla="*/ 836772 w 1032516"/>
              <a:gd name="connsiteY71" fmla="*/ 99284 h 1060076"/>
              <a:gd name="connsiteX72" fmla="*/ 803899 w 1032516"/>
              <a:gd name="connsiteY72" fmla="*/ 78364 h 1060076"/>
              <a:gd name="connsiteX73" fmla="*/ 762060 w 1032516"/>
              <a:gd name="connsiteY73" fmla="*/ 54457 h 1060076"/>
              <a:gd name="connsiteX74" fmla="*/ 723210 w 1032516"/>
              <a:gd name="connsiteY74" fmla="*/ 33537 h 1060076"/>
              <a:gd name="connsiteX75" fmla="*/ 705279 w 1032516"/>
              <a:gd name="connsiteY75" fmla="*/ 26066 h 1060076"/>
              <a:gd name="connsiteX76" fmla="*/ 648498 w 1032516"/>
              <a:gd name="connsiteY76" fmla="*/ 6641 h 1060076"/>
              <a:gd name="connsiteX77" fmla="*/ 603671 w 1032516"/>
              <a:gd name="connsiteY77" fmla="*/ 2158 h 106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1032516" h="1060076">
                <a:moveTo>
                  <a:pt x="603671" y="2158"/>
                </a:moveTo>
                <a:cubicBezTo>
                  <a:pt x="594706" y="664"/>
                  <a:pt x="587235" y="664"/>
                  <a:pt x="579763" y="664"/>
                </a:cubicBezTo>
                <a:cubicBezTo>
                  <a:pt x="543902" y="-830"/>
                  <a:pt x="506546" y="664"/>
                  <a:pt x="458730" y="664"/>
                </a:cubicBezTo>
                <a:cubicBezTo>
                  <a:pt x="439305" y="2158"/>
                  <a:pt x="418386" y="5147"/>
                  <a:pt x="395972" y="9629"/>
                </a:cubicBezTo>
                <a:cubicBezTo>
                  <a:pt x="370570" y="15606"/>
                  <a:pt x="349651" y="23078"/>
                  <a:pt x="330226" y="32043"/>
                </a:cubicBezTo>
                <a:cubicBezTo>
                  <a:pt x="325743" y="33537"/>
                  <a:pt x="321261" y="35032"/>
                  <a:pt x="316778" y="38020"/>
                </a:cubicBezTo>
                <a:cubicBezTo>
                  <a:pt x="304824" y="43997"/>
                  <a:pt x="291376" y="49974"/>
                  <a:pt x="279422" y="57445"/>
                </a:cubicBezTo>
                <a:lnTo>
                  <a:pt x="271951" y="61928"/>
                </a:lnTo>
                <a:cubicBezTo>
                  <a:pt x="259997" y="69399"/>
                  <a:pt x="248043" y="73882"/>
                  <a:pt x="239078" y="81353"/>
                </a:cubicBezTo>
                <a:cubicBezTo>
                  <a:pt x="237583" y="81353"/>
                  <a:pt x="237583" y="81353"/>
                  <a:pt x="236089" y="82847"/>
                </a:cubicBezTo>
                <a:cubicBezTo>
                  <a:pt x="222641" y="90318"/>
                  <a:pt x="210687" y="97789"/>
                  <a:pt x="200228" y="103766"/>
                </a:cubicBezTo>
                <a:cubicBezTo>
                  <a:pt x="195745" y="106755"/>
                  <a:pt x="191262" y="111237"/>
                  <a:pt x="186779" y="112732"/>
                </a:cubicBezTo>
                <a:lnTo>
                  <a:pt x="182297" y="115720"/>
                </a:lnTo>
                <a:cubicBezTo>
                  <a:pt x="167354" y="127674"/>
                  <a:pt x="152412" y="141122"/>
                  <a:pt x="140458" y="154570"/>
                </a:cubicBezTo>
                <a:lnTo>
                  <a:pt x="137470" y="157559"/>
                </a:lnTo>
                <a:cubicBezTo>
                  <a:pt x="116550" y="178478"/>
                  <a:pt x="95631" y="202386"/>
                  <a:pt x="77700" y="224799"/>
                </a:cubicBezTo>
                <a:cubicBezTo>
                  <a:pt x="68735" y="236753"/>
                  <a:pt x="59769" y="248707"/>
                  <a:pt x="52298" y="259167"/>
                </a:cubicBezTo>
                <a:cubicBezTo>
                  <a:pt x="40344" y="277098"/>
                  <a:pt x="28390" y="296523"/>
                  <a:pt x="19425" y="315948"/>
                </a:cubicBezTo>
                <a:cubicBezTo>
                  <a:pt x="13448" y="332384"/>
                  <a:pt x="7471" y="348821"/>
                  <a:pt x="4483" y="368246"/>
                </a:cubicBezTo>
                <a:cubicBezTo>
                  <a:pt x="2988" y="374223"/>
                  <a:pt x="1494" y="381694"/>
                  <a:pt x="1494" y="387671"/>
                </a:cubicBezTo>
                <a:cubicBezTo>
                  <a:pt x="0" y="411579"/>
                  <a:pt x="0" y="432498"/>
                  <a:pt x="0" y="451923"/>
                </a:cubicBezTo>
                <a:cubicBezTo>
                  <a:pt x="0" y="480314"/>
                  <a:pt x="5977" y="508704"/>
                  <a:pt x="8965" y="532612"/>
                </a:cubicBezTo>
                <a:cubicBezTo>
                  <a:pt x="13448" y="553531"/>
                  <a:pt x="16437" y="577439"/>
                  <a:pt x="22414" y="601347"/>
                </a:cubicBezTo>
                <a:cubicBezTo>
                  <a:pt x="25402" y="613301"/>
                  <a:pt x="28390" y="625255"/>
                  <a:pt x="31379" y="635714"/>
                </a:cubicBezTo>
                <a:cubicBezTo>
                  <a:pt x="40344" y="662610"/>
                  <a:pt x="49310" y="689507"/>
                  <a:pt x="62758" y="719391"/>
                </a:cubicBezTo>
                <a:cubicBezTo>
                  <a:pt x="71723" y="741805"/>
                  <a:pt x="83677" y="762724"/>
                  <a:pt x="94137" y="782149"/>
                </a:cubicBezTo>
                <a:cubicBezTo>
                  <a:pt x="97125" y="786632"/>
                  <a:pt x="98620" y="791115"/>
                  <a:pt x="101608" y="795597"/>
                </a:cubicBezTo>
                <a:cubicBezTo>
                  <a:pt x="119539" y="826976"/>
                  <a:pt x="137470" y="853873"/>
                  <a:pt x="153906" y="879275"/>
                </a:cubicBezTo>
                <a:lnTo>
                  <a:pt x="155400" y="880769"/>
                </a:lnTo>
                <a:cubicBezTo>
                  <a:pt x="159883" y="888240"/>
                  <a:pt x="167354" y="897205"/>
                  <a:pt x="173331" y="904676"/>
                </a:cubicBezTo>
                <a:cubicBezTo>
                  <a:pt x="174826" y="907665"/>
                  <a:pt x="177814" y="910653"/>
                  <a:pt x="180802" y="913642"/>
                </a:cubicBezTo>
                <a:cubicBezTo>
                  <a:pt x="197239" y="933067"/>
                  <a:pt x="213676" y="949504"/>
                  <a:pt x="233101" y="965940"/>
                </a:cubicBezTo>
                <a:cubicBezTo>
                  <a:pt x="245055" y="976400"/>
                  <a:pt x="259997" y="985365"/>
                  <a:pt x="277928" y="995825"/>
                </a:cubicBezTo>
                <a:cubicBezTo>
                  <a:pt x="303330" y="1009273"/>
                  <a:pt x="325743" y="1018238"/>
                  <a:pt x="348157" y="1025710"/>
                </a:cubicBezTo>
                <a:cubicBezTo>
                  <a:pt x="349651" y="1025710"/>
                  <a:pt x="351145" y="1025710"/>
                  <a:pt x="352640" y="1027204"/>
                </a:cubicBezTo>
                <a:cubicBezTo>
                  <a:pt x="370570" y="1036169"/>
                  <a:pt x="385513" y="1042146"/>
                  <a:pt x="401949" y="1045135"/>
                </a:cubicBezTo>
                <a:cubicBezTo>
                  <a:pt x="425857" y="1052606"/>
                  <a:pt x="452753" y="1055594"/>
                  <a:pt x="481144" y="1058583"/>
                </a:cubicBezTo>
                <a:cubicBezTo>
                  <a:pt x="491603" y="1060077"/>
                  <a:pt x="502063" y="1060077"/>
                  <a:pt x="512523" y="1060077"/>
                </a:cubicBezTo>
                <a:cubicBezTo>
                  <a:pt x="515511" y="1060077"/>
                  <a:pt x="518500" y="1060077"/>
                  <a:pt x="521488" y="1060077"/>
                </a:cubicBezTo>
                <a:cubicBezTo>
                  <a:pt x="530454" y="1060077"/>
                  <a:pt x="540913" y="1060077"/>
                  <a:pt x="549879" y="1060077"/>
                </a:cubicBezTo>
                <a:cubicBezTo>
                  <a:pt x="551373" y="1060077"/>
                  <a:pt x="552867" y="1060077"/>
                  <a:pt x="554361" y="1060077"/>
                </a:cubicBezTo>
                <a:cubicBezTo>
                  <a:pt x="564821" y="1060077"/>
                  <a:pt x="575281" y="1058583"/>
                  <a:pt x="585740" y="1058583"/>
                </a:cubicBezTo>
                <a:cubicBezTo>
                  <a:pt x="587235" y="1058583"/>
                  <a:pt x="590223" y="1058583"/>
                  <a:pt x="593212" y="1058583"/>
                </a:cubicBezTo>
                <a:cubicBezTo>
                  <a:pt x="603671" y="1057089"/>
                  <a:pt x="614131" y="1057089"/>
                  <a:pt x="624590" y="1055594"/>
                </a:cubicBezTo>
                <a:cubicBezTo>
                  <a:pt x="644015" y="1052606"/>
                  <a:pt x="661946" y="1049617"/>
                  <a:pt x="684360" y="1043640"/>
                </a:cubicBezTo>
                <a:cubicBezTo>
                  <a:pt x="703785" y="1037663"/>
                  <a:pt x="729187" y="1030192"/>
                  <a:pt x="753095" y="1019733"/>
                </a:cubicBezTo>
                <a:cubicBezTo>
                  <a:pt x="756083" y="1018238"/>
                  <a:pt x="757577" y="1018238"/>
                  <a:pt x="760566" y="1016744"/>
                </a:cubicBezTo>
                <a:cubicBezTo>
                  <a:pt x="787462" y="1004790"/>
                  <a:pt x="812864" y="989848"/>
                  <a:pt x="830795" y="977894"/>
                </a:cubicBezTo>
                <a:cubicBezTo>
                  <a:pt x="848726" y="965940"/>
                  <a:pt x="866657" y="952492"/>
                  <a:pt x="884587" y="934561"/>
                </a:cubicBezTo>
                <a:cubicBezTo>
                  <a:pt x="905507" y="915136"/>
                  <a:pt x="921943" y="897205"/>
                  <a:pt x="935391" y="880769"/>
                </a:cubicBezTo>
                <a:cubicBezTo>
                  <a:pt x="950334" y="861344"/>
                  <a:pt x="965276" y="840424"/>
                  <a:pt x="977230" y="816517"/>
                </a:cubicBezTo>
                <a:cubicBezTo>
                  <a:pt x="989184" y="794103"/>
                  <a:pt x="996655" y="768701"/>
                  <a:pt x="1004126" y="746288"/>
                </a:cubicBezTo>
                <a:cubicBezTo>
                  <a:pt x="1008609" y="732839"/>
                  <a:pt x="1011597" y="720886"/>
                  <a:pt x="1014586" y="704449"/>
                </a:cubicBezTo>
                <a:cubicBezTo>
                  <a:pt x="1017574" y="691001"/>
                  <a:pt x="1020563" y="673070"/>
                  <a:pt x="1023551" y="655139"/>
                </a:cubicBezTo>
                <a:cubicBezTo>
                  <a:pt x="1025046" y="650656"/>
                  <a:pt x="1025046" y="644680"/>
                  <a:pt x="1026540" y="637208"/>
                </a:cubicBezTo>
                <a:cubicBezTo>
                  <a:pt x="1026540" y="635714"/>
                  <a:pt x="1028034" y="632726"/>
                  <a:pt x="1028034" y="629737"/>
                </a:cubicBezTo>
                <a:cubicBezTo>
                  <a:pt x="1029528" y="625255"/>
                  <a:pt x="1029528" y="619278"/>
                  <a:pt x="1029528" y="613301"/>
                </a:cubicBezTo>
                <a:cubicBezTo>
                  <a:pt x="1029528" y="608818"/>
                  <a:pt x="1029528" y="604335"/>
                  <a:pt x="1031022" y="598358"/>
                </a:cubicBezTo>
                <a:cubicBezTo>
                  <a:pt x="1032517" y="583416"/>
                  <a:pt x="1032517" y="568474"/>
                  <a:pt x="1032517" y="553531"/>
                </a:cubicBezTo>
                <a:cubicBezTo>
                  <a:pt x="1032517" y="538589"/>
                  <a:pt x="1031022" y="523646"/>
                  <a:pt x="1029528" y="507210"/>
                </a:cubicBezTo>
                <a:cubicBezTo>
                  <a:pt x="1028034" y="492268"/>
                  <a:pt x="1026540" y="478819"/>
                  <a:pt x="1025046" y="462383"/>
                </a:cubicBezTo>
                <a:cubicBezTo>
                  <a:pt x="1023551" y="448935"/>
                  <a:pt x="1022057" y="433992"/>
                  <a:pt x="1019069" y="417556"/>
                </a:cubicBezTo>
                <a:cubicBezTo>
                  <a:pt x="1016080" y="404108"/>
                  <a:pt x="1013092" y="390660"/>
                  <a:pt x="1011597" y="377211"/>
                </a:cubicBezTo>
                <a:lnTo>
                  <a:pt x="1011597" y="374223"/>
                </a:lnTo>
                <a:cubicBezTo>
                  <a:pt x="1008609" y="360775"/>
                  <a:pt x="1004126" y="345832"/>
                  <a:pt x="999644" y="332384"/>
                </a:cubicBezTo>
                <a:cubicBezTo>
                  <a:pt x="998149" y="327902"/>
                  <a:pt x="996655" y="321925"/>
                  <a:pt x="995161" y="317442"/>
                </a:cubicBezTo>
                <a:cubicBezTo>
                  <a:pt x="993667" y="312959"/>
                  <a:pt x="992172" y="308477"/>
                  <a:pt x="990678" y="305488"/>
                </a:cubicBezTo>
                <a:cubicBezTo>
                  <a:pt x="989184" y="302500"/>
                  <a:pt x="989184" y="301005"/>
                  <a:pt x="987690" y="299511"/>
                </a:cubicBezTo>
                <a:cubicBezTo>
                  <a:pt x="984701" y="289052"/>
                  <a:pt x="980218" y="280086"/>
                  <a:pt x="977230" y="268132"/>
                </a:cubicBezTo>
                <a:cubicBezTo>
                  <a:pt x="966770" y="244224"/>
                  <a:pt x="954816" y="221811"/>
                  <a:pt x="941368" y="202386"/>
                </a:cubicBezTo>
                <a:cubicBezTo>
                  <a:pt x="930909" y="185949"/>
                  <a:pt x="918955" y="171007"/>
                  <a:pt x="902518" y="154570"/>
                </a:cubicBezTo>
                <a:cubicBezTo>
                  <a:pt x="883093" y="133651"/>
                  <a:pt x="859185" y="115720"/>
                  <a:pt x="836772" y="99284"/>
                </a:cubicBezTo>
                <a:cubicBezTo>
                  <a:pt x="826312" y="91812"/>
                  <a:pt x="814358" y="84341"/>
                  <a:pt x="803899" y="78364"/>
                </a:cubicBezTo>
                <a:cubicBezTo>
                  <a:pt x="788956" y="69399"/>
                  <a:pt x="775508" y="61928"/>
                  <a:pt x="762060" y="54457"/>
                </a:cubicBezTo>
                <a:cubicBezTo>
                  <a:pt x="747118" y="46985"/>
                  <a:pt x="735164" y="41008"/>
                  <a:pt x="723210" y="33537"/>
                </a:cubicBezTo>
                <a:cubicBezTo>
                  <a:pt x="717233" y="30549"/>
                  <a:pt x="711256" y="27560"/>
                  <a:pt x="705279" y="26066"/>
                </a:cubicBezTo>
                <a:cubicBezTo>
                  <a:pt x="687348" y="18595"/>
                  <a:pt x="669417" y="12618"/>
                  <a:pt x="648498" y="6641"/>
                </a:cubicBezTo>
                <a:cubicBezTo>
                  <a:pt x="636544" y="8135"/>
                  <a:pt x="620108" y="5147"/>
                  <a:pt x="603671" y="2158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9646357-C304-476E-9436-DD5999A2398C}"/>
              </a:ext>
            </a:extLst>
          </p:cNvPr>
          <p:cNvSpPr/>
          <p:nvPr userDrawn="1"/>
        </p:nvSpPr>
        <p:spPr>
          <a:xfrm>
            <a:off x="7282543" y="2020659"/>
            <a:ext cx="1061311" cy="1001193"/>
          </a:xfrm>
          <a:custGeom>
            <a:avLst/>
            <a:gdLst>
              <a:gd name="connsiteX0" fmla="*/ 835278 w 877116"/>
              <a:gd name="connsiteY0" fmla="*/ 593211 h 827432"/>
              <a:gd name="connsiteX1" fmla="*/ 842749 w 877116"/>
              <a:gd name="connsiteY1" fmla="*/ 575281 h 827432"/>
              <a:gd name="connsiteX2" fmla="*/ 869645 w 877116"/>
              <a:gd name="connsiteY2" fmla="*/ 481144 h 827432"/>
              <a:gd name="connsiteX3" fmla="*/ 877116 w 877116"/>
              <a:gd name="connsiteY3" fmla="*/ 430340 h 827432"/>
              <a:gd name="connsiteX4" fmla="*/ 875622 w 877116"/>
              <a:gd name="connsiteY4" fmla="*/ 373559 h 827432"/>
              <a:gd name="connsiteX5" fmla="*/ 874128 w 877116"/>
              <a:gd name="connsiteY5" fmla="*/ 361605 h 827432"/>
              <a:gd name="connsiteX6" fmla="*/ 868151 w 877116"/>
              <a:gd name="connsiteY6" fmla="*/ 328732 h 827432"/>
              <a:gd name="connsiteX7" fmla="*/ 863668 w 877116"/>
              <a:gd name="connsiteY7" fmla="*/ 319766 h 827432"/>
              <a:gd name="connsiteX8" fmla="*/ 856197 w 877116"/>
              <a:gd name="connsiteY8" fmla="*/ 289882 h 827432"/>
              <a:gd name="connsiteX9" fmla="*/ 856197 w 877116"/>
              <a:gd name="connsiteY9" fmla="*/ 286893 h 827432"/>
              <a:gd name="connsiteX10" fmla="*/ 848726 w 877116"/>
              <a:gd name="connsiteY10" fmla="*/ 254020 h 827432"/>
              <a:gd name="connsiteX11" fmla="*/ 844243 w 877116"/>
              <a:gd name="connsiteY11" fmla="*/ 242066 h 827432"/>
              <a:gd name="connsiteX12" fmla="*/ 842749 w 877116"/>
              <a:gd name="connsiteY12" fmla="*/ 237583 h 827432"/>
              <a:gd name="connsiteX13" fmla="*/ 821829 w 877116"/>
              <a:gd name="connsiteY13" fmla="*/ 195745 h 827432"/>
              <a:gd name="connsiteX14" fmla="*/ 820335 w 877116"/>
              <a:gd name="connsiteY14" fmla="*/ 192756 h 827432"/>
              <a:gd name="connsiteX15" fmla="*/ 781485 w 877116"/>
              <a:gd name="connsiteY15" fmla="*/ 129998 h 827432"/>
              <a:gd name="connsiteX16" fmla="*/ 759072 w 877116"/>
              <a:gd name="connsiteY16" fmla="*/ 101608 h 827432"/>
              <a:gd name="connsiteX17" fmla="*/ 721716 w 877116"/>
              <a:gd name="connsiteY17" fmla="*/ 62758 h 827432"/>
              <a:gd name="connsiteX18" fmla="*/ 684360 w 877116"/>
              <a:gd name="connsiteY18" fmla="*/ 38850 h 827432"/>
              <a:gd name="connsiteX19" fmla="*/ 669417 w 877116"/>
              <a:gd name="connsiteY19" fmla="*/ 31379 h 827432"/>
              <a:gd name="connsiteX20" fmla="*/ 621602 w 877116"/>
              <a:gd name="connsiteY20" fmla="*/ 16437 h 827432"/>
              <a:gd name="connsiteX21" fmla="*/ 555856 w 877116"/>
              <a:gd name="connsiteY21" fmla="*/ 5977 h 827432"/>
              <a:gd name="connsiteX22" fmla="*/ 499075 w 877116"/>
              <a:gd name="connsiteY22" fmla="*/ 1494 h 827432"/>
              <a:gd name="connsiteX23" fmla="*/ 470684 w 877116"/>
              <a:gd name="connsiteY23" fmla="*/ 0 h 827432"/>
              <a:gd name="connsiteX24" fmla="*/ 397467 w 877116"/>
              <a:gd name="connsiteY24" fmla="*/ 4483 h 827432"/>
              <a:gd name="connsiteX25" fmla="*/ 340686 w 877116"/>
              <a:gd name="connsiteY25" fmla="*/ 14942 h 827432"/>
              <a:gd name="connsiteX26" fmla="*/ 328732 w 877116"/>
              <a:gd name="connsiteY26" fmla="*/ 17931 h 827432"/>
              <a:gd name="connsiteX27" fmla="*/ 251032 w 877116"/>
              <a:gd name="connsiteY27" fmla="*/ 40344 h 827432"/>
              <a:gd name="connsiteX28" fmla="*/ 251032 w 877116"/>
              <a:gd name="connsiteY28" fmla="*/ 41839 h 827432"/>
              <a:gd name="connsiteX29" fmla="*/ 227124 w 877116"/>
              <a:gd name="connsiteY29" fmla="*/ 50804 h 827432"/>
              <a:gd name="connsiteX30" fmla="*/ 218158 w 877116"/>
              <a:gd name="connsiteY30" fmla="*/ 55287 h 827432"/>
              <a:gd name="connsiteX31" fmla="*/ 165860 w 877116"/>
              <a:gd name="connsiteY31" fmla="*/ 83677 h 827432"/>
              <a:gd name="connsiteX32" fmla="*/ 131493 w 877116"/>
              <a:gd name="connsiteY32" fmla="*/ 112068 h 827432"/>
              <a:gd name="connsiteX33" fmla="*/ 92643 w 877116"/>
              <a:gd name="connsiteY33" fmla="*/ 159883 h 827432"/>
              <a:gd name="connsiteX34" fmla="*/ 89654 w 877116"/>
              <a:gd name="connsiteY34" fmla="*/ 162872 h 827432"/>
              <a:gd name="connsiteX35" fmla="*/ 64252 w 877116"/>
              <a:gd name="connsiteY35" fmla="*/ 197239 h 827432"/>
              <a:gd name="connsiteX36" fmla="*/ 34367 w 877116"/>
              <a:gd name="connsiteY36" fmla="*/ 255514 h 827432"/>
              <a:gd name="connsiteX37" fmla="*/ 25402 w 877116"/>
              <a:gd name="connsiteY37" fmla="*/ 279422 h 827432"/>
              <a:gd name="connsiteX38" fmla="*/ 23908 w 877116"/>
              <a:gd name="connsiteY38" fmla="*/ 285399 h 827432"/>
              <a:gd name="connsiteX39" fmla="*/ 16437 w 877116"/>
              <a:gd name="connsiteY39" fmla="*/ 307813 h 827432"/>
              <a:gd name="connsiteX40" fmla="*/ 14942 w 877116"/>
              <a:gd name="connsiteY40" fmla="*/ 310801 h 827432"/>
              <a:gd name="connsiteX41" fmla="*/ 8965 w 877116"/>
              <a:gd name="connsiteY41" fmla="*/ 334709 h 827432"/>
              <a:gd name="connsiteX42" fmla="*/ 7471 w 877116"/>
              <a:gd name="connsiteY42" fmla="*/ 340686 h 827432"/>
              <a:gd name="connsiteX43" fmla="*/ 2988 w 877116"/>
              <a:gd name="connsiteY43" fmla="*/ 366088 h 827432"/>
              <a:gd name="connsiteX44" fmla="*/ 0 w 877116"/>
              <a:gd name="connsiteY44" fmla="*/ 415397 h 827432"/>
              <a:gd name="connsiteX45" fmla="*/ 2988 w 877116"/>
              <a:gd name="connsiteY45" fmla="*/ 475167 h 827432"/>
              <a:gd name="connsiteX46" fmla="*/ 4483 w 877116"/>
              <a:gd name="connsiteY46" fmla="*/ 482638 h 827432"/>
              <a:gd name="connsiteX47" fmla="*/ 19425 w 877116"/>
              <a:gd name="connsiteY47" fmla="*/ 546890 h 827432"/>
              <a:gd name="connsiteX48" fmla="*/ 40344 w 877116"/>
              <a:gd name="connsiteY48" fmla="*/ 599188 h 827432"/>
              <a:gd name="connsiteX49" fmla="*/ 70229 w 877116"/>
              <a:gd name="connsiteY49" fmla="*/ 651487 h 827432"/>
              <a:gd name="connsiteX50" fmla="*/ 110573 w 877116"/>
              <a:gd name="connsiteY50" fmla="*/ 699302 h 827432"/>
              <a:gd name="connsiteX51" fmla="*/ 159883 w 877116"/>
              <a:gd name="connsiteY51" fmla="*/ 736658 h 827432"/>
              <a:gd name="connsiteX52" fmla="*/ 189768 w 877116"/>
              <a:gd name="connsiteY52" fmla="*/ 754589 h 827432"/>
              <a:gd name="connsiteX53" fmla="*/ 225630 w 877116"/>
              <a:gd name="connsiteY53" fmla="*/ 774014 h 827432"/>
              <a:gd name="connsiteX54" fmla="*/ 239078 w 877116"/>
              <a:gd name="connsiteY54" fmla="*/ 779991 h 827432"/>
              <a:gd name="connsiteX55" fmla="*/ 245055 w 877116"/>
              <a:gd name="connsiteY55" fmla="*/ 782979 h 827432"/>
              <a:gd name="connsiteX56" fmla="*/ 257009 w 877116"/>
              <a:gd name="connsiteY56" fmla="*/ 787462 h 827432"/>
              <a:gd name="connsiteX57" fmla="*/ 268962 w 877116"/>
              <a:gd name="connsiteY57" fmla="*/ 791945 h 827432"/>
              <a:gd name="connsiteX58" fmla="*/ 303330 w 877116"/>
              <a:gd name="connsiteY58" fmla="*/ 803899 h 827432"/>
              <a:gd name="connsiteX59" fmla="*/ 340686 w 877116"/>
              <a:gd name="connsiteY59" fmla="*/ 812864 h 827432"/>
              <a:gd name="connsiteX60" fmla="*/ 376547 w 877116"/>
              <a:gd name="connsiteY60" fmla="*/ 818841 h 827432"/>
              <a:gd name="connsiteX61" fmla="*/ 412409 w 877116"/>
              <a:gd name="connsiteY61" fmla="*/ 823324 h 827432"/>
              <a:gd name="connsiteX62" fmla="*/ 445282 w 877116"/>
              <a:gd name="connsiteY62" fmla="*/ 826312 h 827432"/>
              <a:gd name="connsiteX63" fmla="*/ 448271 w 877116"/>
              <a:gd name="connsiteY63" fmla="*/ 826312 h 827432"/>
              <a:gd name="connsiteX64" fmla="*/ 484132 w 877116"/>
              <a:gd name="connsiteY64" fmla="*/ 826312 h 827432"/>
              <a:gd name="connsiteX65" fmla="*/ 497580 w 877116"/>
              <a:gd name="connsiteY65" fmla="*/ 826312 h 827432"/>
              <a:gd name="connsiteX66" fmla="*/ 508040 w 877116"/>
              <a:gd name="connsiteY66" fmla="*/ 826312 h 827432"/>
              <a:gd name="connsiteX67" fmla="*/ 512523 w 877116"/>
              <a:gd name="connsiteY67" fmla="*/ 826312 h 827432"/>
              <a:gd name="connsiteX68" fmla="*/ 539419 w 877116"/>
              <a:gd name="connsiteY68" fmla="*/ 824818 h 827432"/>
              <a:gd name="connsiteX69" fmla="*/ 599188 w 877116"/>
              <a:gd name="connsiteY69" fmla="*/ 811370 h 827432"/>
              <a:gd name="connsiteX70" fmla="*/ 645510 w 877116"/>
              <a:gd name="connsiteY70" fmla="*/ 791945 h 827432"/>
              <a:gd name="connsiteX71" fmla="*/ 703785 w 877116"/>
              <a:gd name="connsiteY71" fmla="*/ 753095 h 827432"/>
              <a:gd name="connsiteX72" fmla="*/ 727693 w 877116"/>
              <a:gd name="connsiteY72" fmla="*/ 732175 h 827432"/>
              <a:gd name="connsiteX73" fmla="*/ 756083 w 877116"/>
              <a:gd name="connsiteY73" fmla="*/ 705279 h 827432"/>
              <a:gd name="connsiteX74" fmla="*/ 781485 w 877116"/>
              <a:gd name="connsiteY74" fmla="*/ 679877 h 827432"/>
              <a:gd name="connsiteX75" fmla="*/ 791945 w 877116"/>
              <a:gd name="connsiteY75" fmla="*/ 667923 h 827432"/>
              <a:gd name="connsiteX76" fmla="*/ 820335 w 877116"/>
              <a:gd name="connsiteY76" fmla="*/ 629073 h 827432"/>
              <a:gd name="connsiteX77" fmla="*/ 835278 w 877116"/>
              <a:gd name="connsiteY77" fmla="*/ 593211 h 8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877116" h="827432">
                <a:moveTo>
                  <a:pt x="835278" y="593211"/>
                </a:moveTo>
                <a:cubicBezTo>
                  <a:pt x="838266" y="587235"/>
                  <a:pt x="839760" y="579763"/>
                  <a:pt x="842749" y="575281"/>
                </a:cubicBezTo>
                <a:cubicBezTo>
                  <a:pt x="851714" y="548384"/>
                  <a:pt x="859185" y="518500"/>
                  <a:pt x="869645" y="481144"/>
                </a:cubicBezTo>
                <a:cubicBezTo>
                  <a:pt x="874128" y="464707"/>
                  <a:pt x="875622" y="448271"/>
                  <a:pt x="877116" y="430340"/>
                </a:cubicBezTo>
                <a:cubicBezTo>
                  <a:pt x="877116" y="409420"/>
                  <a:pt x="877116" y="391490"/>
                  <a:pt x="875622" y="373559"/>
                </a:cubicBezTo>
                <a:cubicBezTo>
                  <a:pt x="875622" y="369076"/>
                  <a:pt x="874128" y="366088"/>
                  <a:pt x="874128" y="361605"/>
                </a:cubicBezTo>
                <a:cubicBezTo>
                  <a:pt x="872633" y="349651"/>
                  <a:pt x="869645" y="339191"/>
                  <a:pt x="868151" y="328732"/>
                </a:cubicBezTo>
                <a:lnTo>
                  <a:pt x="863668" y="319766"/>
                </a:lnTo>
                <a:cubicBezTo>
                  <a:pt x="860680" y="307813"/>
                  <a:pt x="859185" y="298847"/>
                  <a:pt x="856197" y="289882"/>
                </a:cubicBezTo>
                <a:cubicBezTo>
                  <a:pt x="856197" y="288387"/>
                  <a:pt x="856197" y="288387"/>
                  <a:pt x="856197" y="286893"/>
                </a:cubicBezTo>
                <a:cubicBezTo>
                  <a:pt x="853208" y="274939"/>
                  <a:pt x="850220" y="264480"/>
                  <a:pt x="848726" y="254020"/>
                </a:cubicBezTo>
                <a:cubicBezTo>
                  <a:pt x="847232" y="249537"/>
                  <a:pt x="845737" y="245055"/>
                  <a:pt x="844243" y="242066"/>
                </a:cubicBezTo>
                <a:lnTo>
                  <a:pt x="842749" y="237583"/>
                </a:lnTo>
                <a:cubicBezTo>
                  <a:pt x="836772" y="222641"/>
                  <a:pt x="830795" y="209193"/>
                  <a:pt x="821829" y="195745"/>
                </a:cubicBezTo>
                <a:lnTo>
                  <a:pt x="820335" y="192756"/>
                </a:lnTo>
                <a:cubicBezTo>
                  <a:pt x="808381" y="170343"/>
                  <a:pt x="794933" y="149424"/>
                  <a:pt x="781485" y="129998"/>
                </a:cubicBezTo>
                <a:cubicBezTo>
                  <a:pt x="774014" y="119539"/>
                  <a:pt x="766543" y="110573"/>
                  <a:pt x="759072" y="101608"/>
                </a:cubicBezTo>
                <a:cubicBezTo>
                  <a:pt x="748612" y="89654"/>
                  <a:pt x="736658" y="74712"/>
                  <a:pt x="721716" y="62758"/>
                </a:cubicBezTo>
                <a:cubicBezTo>
                  <a:pt x="711256" y="53792"/>
                  <a:pt x="699302" y="46321"/>
                  <a:pt x="684360" y="38850"/>
                </a:cubicBezTo>
                <a:cubicBezTo>
                  <a:pt x="679877" y="35862"/>
                  <a:pt x="673900" y="34367"/>
                  <a:pt x="669417" y="31379"/>
                </a:cubicBezTo>
                <a:cubicBezTo>
                  <a:pt x="652981" y="25402"/>
                  <a:pt x="636544" y="20919"/>
                  <a:pt x="621602" y="16437"/>
                </a:cubicBezTo>
                <a:cubicBezTo>
                  <a:pt x="599188" y="10460"/>
                  <a:pt x="576775" y="7471"/>
                  <a:pt x="555856" y="5977"/>
                </a:cubicBezTo>
                <a:cubicBezTo>
                  <a:pt x="537925" y="4483"/>
                  <a:pt x="518500" y="1494"/>
                  <a:pt x="499075" y="1494"/>
                </a:cubicBezTo>
                <a:cubicBezTo>
                  <a:pt x="490109" y="0"/>
                  <a:pt x="479650" y="0"/>
                  <a:pt x="470684" y="0"/>
                </a:cubicBezTo>
                <a:cubicBezTo>
                  <a:pt x="448271" y="0"/>
                  <a:pt x="424363" y="1494"/>
                  <a:pt x="397467" y="4483"/>
                </a:cubicBezTo>
                <a:cubicBezTo>
                  <a:pt x="379536" y="7471"/>
                  <a:pt x="360111" y="11954"/>
                  <a:pt x="340686" y="14942"/>
                </a:cubicBezTo>
                <a:cubicBezTo>
                  <a:pt x="336203" y="16437"/>
                  <a:pt x="333215" y="16437"/>
                  <a:pt x="328732" y="17931"/>
                </a:cubicBezTo>
                <a:cubicBezTo>
                  <a:pt x="300341" y="23908"/>
                  <a:pt x="274939" y="31379"/>
                  <a:pt x="251032" y="40344"/>
                </a:cubicBezTo>
                <a:lnTo>
                  <a:pt x="251032" y="41839"/>
                </a:lnTo>
                <a:cubicBezTo>
                  <a:pt x="243560" y="44827"/>
                  <a:pt x="236089" y="47816"/>
                  <a:pt x="227124" y="50804"/>
                </a:cubicBezTo>
                <a:cubicBezTo>
                  <a:pt x="224135" y="52298"/>
                  <a:pt x="221147" y="53792"/>
                  <a:pt x="218158" y="55287"/>
                </a:cubicBezTo>
                <a:cubicBezTo>
                  <a:pt x="200228" y="64252"/>
                  <a:pt x="182297" y="73218"/>
                  <a:pt x="165860" y="83677"/>
                </a:cubicBezTo>
                <a:cubicBezTo>
                  <a:pt x="155400" y="89654"/>
                  <a:pt x="143447" y="100114"/>
                  <a:pt x="131493" y="112068"/>
                </a:cubicBezTo>
                <a:cubicBezTo>
                  <a:pt x="115056" y="128504"/>
                  <a:pt x="103102" y="143447"/>
                  <a:pt x="92643" y="159883"/>
                </a:cubicBezTo>
                <a:cubicBezTo>
                  <a:pt x="92643" y="161377"/>
                  <a:pt x="91148" y="162872"/>
                  <a:pt x="89654" y="162872"/>
                </a:cubicBezTo>
                <a:cubicBezTo>
                  <a:pt x="79194" y="174826"/>
                  <a:pt x="70229" y="185285"/>
                  <a:pt x="64252" y="197239"/>
                </a:cubicBezTo>
                <a:cubicBezTo>
                  <a:pt x="53792" y="215170"/>
                  <a:pt x="44827" y="234595"/>
                  <a:pt x="34367" y="255514"/>
                </a:cubicBezTo>
                <a:cubicBezTo>
                  <a:pt x="31379" y="262985"/>
                  <a:pt x="28390" y="271951"/>
                  <a:pt x="25402" y="279422"/>
                </a:cubicBezTo>
                <a:cubicBezTo>
                  <a:pt x="25402" y="282410"/>
                  <a:pt x="23908" y="283905"/>
                  <a:pt x="23908" y="285399"/>
                </a:cubicBezTo>
                <a:cubicBezTo>
                  <a:pt x="22414" y="292870"/>
                  <a:pt x="19425" y="300341"/>
                  <a:pt x="16437" y="307813"/>
                </a:cubicBezTo>
                <a:cubicBezTo>
                  <a:pt x="16437" y="309307"/>
                  <a:pt x="16437" y="310801"/>
                  <a:pt x="14942" y="310801"/>
                </a:cubicBezTo>
                <a:cubicBezTo>
                  <a:pt x="13448" y="318272"/>
                  <a:pt x="10460" y="327238"/>
                  <a:pt x="8965" y="334709"/>
                </a:cubicBezTo>
                <a:cubicBezTo>
                  <a:pt x="8965" y="336203"/>
                  <a:pt x="7471" y="339191"/>
                  <a:pt x="7471" y="340686"/>
                </a:cubicBezTo>
                <a:cubicBezTo>
                  <a:pt x="5977" y="349651"/>
                  <a:pt x="4483" y="357122"/>
                  <a:pt x="2988" y="366088"/>
                </a:cubicBezTo>
                <a:cubicBezTo>
                  <a:pt x="0" y="382524"/>
                  <a:pt x="0" y="397467"/>
                  <a:pt x="0" y="415397"/>
                </a:cubicBezTo>
                <a:cubicBezTo>
                  <a:pt x="0" y="431834"/>
                  <a:pt x="0" y="452753"/>
                  <a:pt x="2988" y="475167"/>
                </a:cubicBezTo>
                <a:cubicBezTo>
                  <a:pt x="2988" y="478155"/>
                  <a:pt x="2988" y="479650"/>
                  <a:pt x="4483" y="482638"/>
                </a:cubicBezTo>
                <a:cubicBezTo>
                  <a:pt x="7471" y="506546"/>
                  <a:pt x="13448" y="528959"/>
                  <a:pt x="19425" y="546890"/>
                </a:cubicBezTo>
                <a:cubicBezTo>
                  <a:pt x="25402" y="564821"/>
                  <a:pt x="31379" y="581258"/>
                  <a:pt x="40344" y="599188"/>
                </a:cubicBezTo>
                <a:cubicBezTo>
                  <a:pt x="50804" y="620108"/>
                  <a:pt x="59769" y="636544"/>
                  <a:pt x="70229" y="651487"/>
                </a:cubicBezTo>
                <a:cubicBezTo>
                  <a:pt x="82183" y="667923"/>
                  <a:pt x="95631" y="684360"/>
                  <a:pt x="110573" y="699302"/>
                </a:cubicBezTo>
                <a:cubicBezTo>
                  <a:pt x="125516" y="714245"/>
                  <a:pt x="143447" y="726198"/>
                  <a:pt x="159883" y="736658"/>
                </a:cubicBezTo>
                <a:cubicBezTo>
                  <a:pt x="168849" y="742635"/>
                  <a:pt x="177814" y="748612"/>
                  <a:pt x="189768" y="754589"/>
                </a:cubicBezTo>
                <a:cubicBezTo>
                  <a:pt x="200228" y="759072"/>
                  <a:pt x="212181" y="766543"/>
                  <a:pt x="225630" y="774014"/>
                </a:cubicBezTo>
                <a:cubicBezTo>
                  <a:pt x="230112" y="775508"/>
                  <a:pt x="234595" y="777002"/>
                  <a:pt x="239078" y="779991"/>
                </a:cubicBezTo>
                <a:cubicBezTo>
                  <a:pt x="240572" y="779991"/>
                  <a:pt x="243560" y="781485"/>
                  <a:pt x="245055" y="782979"/>
                </a:cubicBezTo>
                <a:cubicBezTo>
                  <a:pt x="249537" y="784474"/>
                  <a:pt x="252526" y="787462"/>
                  <a:pt x="257009" y="787462"/>
                </a:cubicBezTo>
                <a:cubicBezTo>
                  <a:pt x="259997" y="788956"/>
                  <a:pt x="264480" y="788956"/>
                  <a:pt x="268962" y="791945"/>
                </a:cubicBezTo>
                <a:cubicBezTo>
                  <a:pt x="280916" y="796427"/>
                  <a:pt x="291376" y="799416"/>
                  <a:pt x="303330" y="803899"/>
                </a:cubicBezTo>
                <a:cubicBezTo>
                  <a:pt x="315284" y="806887"/>
                  <a:pt x="327238" y="809876"/>
                  <a:pt x="340686" y="812864"/>
                </a:cubicBezTo>
                <a:cubicBezTo>
                  <a:pt x="352640" y="815853"/>
                  <a:pt x="364593" y="817347"/>
                  <a:pt x="376547" y="818841"/>
                </a:cubicBezTo>
                <a:cubicBezTo>
                  <a:pt x="387007" y="820335"/>
                  <a:pt x="398961" y="821829"/>
                  <a:pt x="412409" y="823324"/>
                </a:cubicBezTo>
                <a:cubicBezTo>
                  <a:pt x="422869" y="824818"/>
                  <a:pt x="434823" y="824818"/>
                  <a:pt x="445282" y="826312"/>
                </a:cubicBezTo>
                <a:lnTo>
                  <a:pt x="448271" y="826312"/>
                </a:lnTo>
                <a:cubicBezTo>
                  <a:pt x="460225" y="827806"/>
                  <a:pt x="472178" y="827806"/>
                  <a:pt x="484132" y="826312"/>
                </a:cubicBezTo>
                <a:cubicBezTo>
                  <a:pt x="488615" y="826312"/>
                  <a:pt x="493098" y="826312"/>
                  <a:pt x="497580" y="826312"/>
                </a:cubicBezTo>
                <a:cubicBezTo>
                  <a:pt x="500569" y="826312"/>
                  <a:pt x="505052" y="826312"/>
                  <a:pt x="508040" y="826312"/>
                </a:cubicBezTo>
                <a:cubicBezTo>
                  <a:pt x="509534" y="826312"/>
                  <a:pt x="511029" y="826312"/>
                  <a:pt x="512523" y="826312"/>
                </a:cubicBezTo>
                <a:cubicBezTo>
                  <a:pt x="521488" y="826312"/>
                  <a:pt x="528959" y="824818"/>
                  <a:pt x="539419" y="824818"/>
                </a:cubicBezTo>
                <a:cubicBezTo>
                  <a:pt x="560338" y="821829"/>
                  <a:pt x="581258" y="817347"/>
                  <a:pt x="599188" y="811370"/>
                </a:cubicBezTo>
                <a:cubicBezTo>
                  <a:pt x="614131" y="806887"/>
                  <a:pt x="629073" y="800910"/>
                  <a:pt x="645510" y="791945"/>
                </a:cubicBezTo>
                <a:cubicBezTo>
                  <a:pt x="666429" y="781485"/>
                  <a:pt x="685854" y="766543"/>
                  <a:pt x="703785" y="753095"/>
                </a:cubicBezTo>
                <a:cubicBezTo>
                  <a:pt x="712750" y="747118"/>
                  <a:pt x="720222" y="739647"/>
                  <a:pt x="727693" y="732175"/>
                </a:cubicBezTo>
                <a:cubicBezTo>
                  <a:pt x="738152" y="723210"/>
                  <a:pt x="747118" y="714245"/>
                  <a:pt x="756083" y="705279"/>
                </a:cubicBezTo>
                <a:cubicBezTo>
                  <a:pt x="765049" y="696314"/>
                  <a:pt x="774014" y="687348"/>
                  <a:pt x="781485" y="679877"/>
                </a:cubicBezTo>
                <a:cubicBezTo>
                  <a:pt x="785968" y="675394"/>
                  <a:pt x="788956" y="672406"/>
                  <a:pt x="791945" y="667923"/>
                </a:cubicBezTo>
                <a:cubicBezTo>
                  <a:pt x="802404" y="655969"/>
                  <a:pt x="811370" y="642521"/>
                  <a:pt x="820335" y="629073"/>
                </a:cubicBezTo>
                <a:cubicBezTo>
                  <a:pt x="821829" y="617119"/>
                  <a:pt x="829301" y="605165"/>
                  <a:pt x="835278" y="593211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7F74EDF-6D72-4BCC-A50B-B4177D640D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E6BDE1D-B5B3-47FB-9F8E-AAB966FA35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6D64A46-C790-D38C-C61C-A23426C0A6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35314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rId2" action="ppaction://hlinksldjump"/>
            <a:extLst>
              <a:ext uri="{FF2B5EF4-FFF2-40B4-BE49-F238E27FC236}">
                <a16:creationId xmlns:a16="http://schemas.microsoft.com/office/drawing/2014/main" id="{B0F5F316-B60A-0947-854D-8849CA1E19CF}"/>
              </a:ext>
            </a:extLst>
          </p:cNvPr>
          <p:cNvSpPr/>
          <p:nvPr userDrawn="1"/>
        </p:nvSpPr>
        <p:spPr>
          <a:xfrm>
            <a:off x="1" y="3"/>
            <a:ext cx="5034254" cy="822959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8946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</a:endParaRPr>
          </a:p>
        </p:txBody>
      </p:sp>
      <p:sp>
        <p:nvSpPr>
          <p:cNvPr id="42" name="Title 9">
            <a:extLst>
              <a:ext uri="{FF2B5EF4-FFF2-40B4-BE49-F238E27FC236}">
                <a16:creationId xmlns:a16="http://schemas.microsoft.com/office/drawing/2014/main" id="{FF542652-F6F5-0E47-96C0-9CDE9CEE1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928" y="2002976"/>
            <a:ext cx="3473754" cy="1965390"/>
          </a:xfrm>
        </p:spPr>
        <p:txBody>
          <a:bodyPr anchor="t"/>
          <a:lstStyle>
            <a:lvl1pPr>
              <a:defRPr sz="360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ext Styles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D01C10BF-070F-E04E-B8AD-8A6AB4267D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3928" y="4288011"/>
            <a:ext cx="3472870" cy="1784728"/>
          </a:xfrm>
        </p:spPr>
        <p:txBody>
          <a:bodyPr/>
          <a:lstStyle>
            <a:lvl1pPr marL="0" indent="0">
              <a:buNone/>
              <a:defRPr sz="1920" b="0" i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C9909625-C924-5C4B-A25A-965AEF0D613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35999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85885235-5F03-9F44-BC12-000C4288B00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0595478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D35F429-8BCA-4411-8719-5FFABD82F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6905CEB-E1ED-4EAB-8BA5-F7164DB8FB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648A540-028D-223D-7027-6C2C730614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31474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rId2" action="ppaction://hlinksldjump"/>
            <a:extLst>
              <a:ext uri="{FF2B5EF4-FFF2-40B4-BE49-F238E27FC236}">
                <a16:creationId xmlns:a16="http://schemas.microsoft.com/office/drawing/2014/main" id="{B0F5F316-B60A-0947-854D-8849CA1E19CF}"/>
              </a:ext>
            </a:extLst>
          </p:cNvPr>
          <p:cNvSpPr/>
          <p:nvPr userDrawn="1"/>
        </p:nvSpPr>
        <p:spPr>
          <a:xfrm>
            <a:off x="1" y="3"/>
            <a:ext cx="5034254" cy="822959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8946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</a:endParaRPr>
          </a:p>
        </p:txBody>
      </p:sp>
      <p:sp>
        <p:nvSpPr>
          <p:cNvPr id="42" name="Title 9">
            <a:extLst>
              <a:ext uri="{FF2B5EF4-FFF2-40B4-BE49-F238E27FC236}">
                <a16:creationId xmlns:a16="http://schemas.microsoft.com/office/drawing/2014/main" id="{FF542652-F6F5-0E47-96C0-9CDE9CEE1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928" y="2002976"/>
            <a:ext cx="3473754" cy="1965390"/>
          </a:xfrm>
        </p:spPr>
        <p:txBody>
          <a:bodyPr anchor="t"/>
          <a:lstStyle>
            <a:lvl1pPr>
              <a:defRPr sz="360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ext Styles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D01C10BF-070F-E04E-B8AD-8A6AB4267D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3928" y="4288011"/>
            <a:ext cx="3472870" cy="1784728"/>
          </a:xfrm>
        </p:spPr>
        <p:txBody>
          <a:bodyPr/>
          <a:lstStyle>
            <a:lvl1pPr marL="0" indent="0">
              <a:buNone/>
              <a:defRPr sz="1920" b="0" i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C9909625-C924-5C4B-A25A-965AEF0D613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35999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85885235-5F03-9F44-BC12-000C4288B00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0595478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D28BC2E-F3FD-47B7-A99A-D8F2E5977D3A}"/>
              </a:ext>
            </a:extLst>
          </p:cNvPr>
          <p:cNvSpPr/>
          <p:nvPr userDrawn="1"/>
        </p:nvSpPr>
        <p:spPr>
          <a:xfrm>
            <a:off x="11639347" y="1991217"/>
            <a:ext cx="1032516" cy="1060076"/>
          </a:xfrm>
          <a:custGeom>
            <a:avLst/>
            <a:gdLst>
              <a:gd name="connsiteX0" fmla="*/ 603671 w 1032516"/>
              <a:gd name="connsiteY0" fmla="*/ 2158 h 1060076"/>
              <a:gd name="connsiteX1" fmla="*/ 579763 w 1032516"/>
              <a:gd name="connsiteY1" fmla="*/ 664 h 1060076"/>
              <a:gd name="connsiteX2" fmla="*/ 458730 w 1032516"/>
              <a:gd name="connsiteY2" fmla="*/ 664 h 1060076"/>
              <a:gd name="connsiteX3" fmla="*/ 395972 w 1032516"/>
              <a:gd name="connsiteY3" fmla="*/ 9629 h 1060076"/>
              <a:gd name="connsiteX4" fmla="*/ 330226 w 1032516"/>
              <a:gd name="connsiteY4" fmla="*/ 32043 h 1060076"/>
              <a:gd name="connsiteX5" fmla="*/ 316778 w 1032516"/>
              <a:gd name="connsiteY5" fmla="*/ 38020 h 1060076"/>
              <a:gd name="connsiteX6" fmla="*/ 279422 w 1032516"/>
              <a:gd name="connsiteY6" fmla="*/ 57445 h 1060076"/>
              <a:gd name="connsiteX7" fmla="*/ 271951 w 1032516"/>
              <a:gd name="connsiteY7" fmla="*/ 61928 h 1060076"/>
              <a:gd name="connsiteX8" fmla="*/ 239078 w 1032516"/>
              <a:gd name="connsiteY8" fmla="*/ 81353 h 1060076"/>
              <a:gd name="connsiteX9" fmla="*/ 236089 w 1032516"/>
              <a:gd name="connsiteY9" fmla="*/ 82847 h 1060076"/>
              <a:gd name="connsiteX10" fmla="*/ 200228 w 1032516"/>
              <a:gd name="connsiteY10" fmla="*/ 103766 h 1060076"/>
              <a:gd name="connsiteX11" fmla="*/ 186779 w 1032516"/>
              <a:gd name="connsiteY11" fmla="*/ 112732 h 1060076"/>
              <a:gd name="connsiteX12" fmla="*/ 182297 w 1032516"/>
              <a:gd name="connsiteY12" fmla="*/ 115720 h 1060076"/>
              <a:gd name="connsiteX13" fmla="*/ 140458 w 1032516"/>
              <a:gd name="connsiteY13" fmla="*/ 154570 h 1060076"/>
              <a:gd name="connsiteX14" fmla="*/ 137470 w 1032516"/>
              <a:gd name="connsiteY14" fmla="*/ 157559 h 1060076"/>
              <a:gd name="connsiteX15" fmla="*/ 77700 w 1032516"/>
              <a:gd name="connsiteY15" fmla="*/ 224799 h 1060076"/>
              <a:gd name="connsiteX16" fmla="*/ 52298 w 1032516"/>
              <a:gd name="connsiteY16" fmla="*/ 259167 h 1060076"/>
              <a:gd name="connsiteX17" fmla="*/ 19425 w 1032516"/>
              <a:gd name="connsiteY17" fmla="*/ 315948 h 1060076"/>
              <a:gd name="connsiteX18" fmla="*/ 4483 w 1032516"/>
              <a:gd name="connsiteY18" fmla="*/ 368246 h 1060076"/>
              <a:gd name="connsiteX19" fmla="*/ 1494 w 1032516"/>
              <a:gd name="connsiteY19" fmla="*/ 387671 h 1060076"/>
              <a:gd name="connsiteX20" fmla="*/ 0 w 1032516"/>
              <a:gd name="connsiteY20" fmla="*/ 451923 h 1060076"/>
              <a:gd name="connsiteX21" fmla="*/ 8965 w 1032516"/>
              <a:gd name="connsiteY21" fmla="*/ 532612 h 1060076"/>
              <a:gd name="connsiteX22" fmla="*/ 22414 w 1032516"/>
              <a:gd name="connsiteY22" fmla="*/ 601347 h 1060076"/>
              <a:gd name="connsiteX23" fmla="*/ 31379 w 1032516"/>
              <a:gd name="connsiteY23" fmla="*/ 635714 h 1060076"/>
              <a:gd name="connsiteX24" fmla="*/ 62758 w 1032516"/>
              <a:gd name="connsiteY24" fmla="*/ 719391 h 1060076"/>
              <a:gd name="connsiteX25" fmla="*/ 94137 w 1032516"/>
              <a:gd name="connsiteY25" fmla="*/ 782149 h 1060076"/>
              <a:gd name="connsiteX26" fmla="*/ 101608 w 1032516"/>
              <a:gd name="connsiteY26" fmla="*/ 795597 h 1060076"/>
              <a:gd name="connsiteX27" fmla="*/ 153906 w 1032516"/>
              <a:gd name="connsiteY27" fmla="*/ 879275 h 1060076"/>
              <a:gd name="connsiteX28" fmla="*/ 155400 w 1032516"/>
              <a:gd name="connsiteY28" fmla="*/ 880769 h 1060076"/>
              <a:gd name="connsiteX29" fmla="*/ 173331 w 1032516"/>
              <a:gd name="connsiteY29" fmla="*/ 904676 h 1060076"/>
              <a:gd name="connsiteX30" fmla="*/ 180802 w 1032516"/>
              <a:gd name="connsiteY30" fmla="*/ 913642 h 1060076"/>
              <a:gd name="connsiteX31" fmla="*/ 233101 w 1032516"/>
              <a:gd name="connsiteY31" fmla="*/ 965940 h 1060076"/>
              <a:gd name="connsiteX32" fmla="*/ 277928 w 1032516"/>
              <a:gd name="connsiteY32" fmla="*/ 995825 h 1060076"/>
              <a:gd name="connsiteX33" fmla="*/ 348157 w 1032516"/>
              <a:gd name="connsiteY33" fmla="*/ 1025710 h 1060076"/>
              <a:gd name="connsiteX34" fmla="*/ 352640 w 1032516"/>
              <a:gd name="connsiteY34" fmla="*/ 1027204 h 1060076"/>
              <a:gd name="connsiteX35" fmla="*/ 401949 w 1032516"/>
              <a:gd name="connsiteY35" fmla="*/ 1045135 h 1060076"/>
              <a:gd name="connsiteX36" fmla="*/ 481144 w 1032516"/>
              <a:gd name="connsiteY36" fmla="*/ 1058583 h 1060076"/>
              <a:gd name="connsiteX37" fmla="*/ 512523 w 1032516"/>
              <a:gd name="connsiteY37" fmla="*/ 1060077 h 1060076"/>
              <a:gd name="connsiteX38" fmla="*/ 521488 w 1032516"/>
              <a:gd name="connsiteY38" fmla="*/ 1060077 h 1060076"/>
              <a:gd name="connsiteX39" fmla="*/ 549879 w 1032516"/>
              <a:gd name="connsiteY39" fmla="*/ 1060077 h 1060076"/>
              <a:gd name="connsiteX40" fmla="*/ 554361 w 1032516"/>
              <a:gd name="connsiteY40" fmla="*/ 1060077 h 1060076"/>
              <a:gd name="connsiteX41" fmla="*/ 585740 w 1032516"/>
              <a:gd name="connsiteY41" fmla="*/ 1058583 h 1060076"/>
              <a:gd name="connsiteX42" fmla="*/ 593212 w 1032516"/>
              <a:gd name="connsiteY42" fmla="*/ 1058583 h 1060076"/>
              <a:gd name="connsiteX43" fmla="*/ 624590 w 1032516"/>
              <a:gd name="connsiteY43" fmla="*/ 1055594 h 1060076"/>
              <a:gd name="connsiteX44" fmla="*/ 684360 w 1032516"/>
              <a:gd name="connsiteY44" fmla="*/ 1043640 h 1060076"/>
              <a:gd name="connsiteX45" fmla="*/ 753095 w 1032516"/>
              <a:gd name="connsiteY45" fmla="*/ 1019733 h 1060076"/>
              <a:gd name="connsiteX46" fmla="*/ 760566 w 1032516"/>
              <a:gd name="connsiteY46" fmla="*/ 1016744 h 1060076"/>
              <a:gd name="connsiteX47" fmla="*/ 830795 w 1032516"/>
              <a:gd name="connsiteY47" fmla="*/ 977894 h 1060076"/>
              <a:gd name="connsiteX48" fmla="*/ 884587 w 1032516"/>
              <a:gd name="connsiteY48" fmla="*/ 934561 h 1060076"/>
              <a:gd name="connsiteX49" fmla="*/ 935391 w 1032516"/>
              <a:gd name="connsiteY49" fmla="*/ 880769 h 1060076"/>
              <a:gd name="connsiteX50" fmla="*/ 977230 w 1032516"/>
              <a:gd name="connsiteY50" fmla="*/ 816517 h 1060076"/>
              <a:gd name="connsiteX51" fmla="*/ 1004126 w 1032516"/>
              <a:gd name="connsiteY51" fmla="*/ 746288 h 1060076"/>
              <a:gd name="connsiteX52" fmla="*/ 1014586 w 1032516"/>
              <a:gd name="connsiteY52" fmla="*/ 704449 h 1060076"/>
              <a:gd name="connsiteX53" fmla="*/ 1023551 w 1032516"/>
              <a:gd name="connsiteY53" fmla="*/ 655139 h 1060076"/>
              <a:gd name="connsiteX54" fmla="*/ 1026540 w 1032516"/>
              <a:gd name="connsiteY54" fmla="*/ 637208 h 1060076"/>
              <a:gd name="connsiteX55" fmla="*/ 1028034 w 1032516"/>
              <a:gd name="connsiteY55" fmla="*/ 629737 h 1060076"/>
              <a:gd name="connsiteX56" fmla="*/ 1029528 w 1032516"/>
              <a:gd name="connsiteY56" fmla="*/ 613301 h 1060076"/>
              <a:gd name="connsiteX57" fmla="*/ 1031022 w 1032516"/>
              <a:gd name="connsiteY57" fmla="*/ 598358 h 1060076"/>
              <a:gd name="connsiteX58" fmla="*/ 1032517 w 1032516"/>
              <a:gd name="connsiteY58" fmla="*/ 553531 h 1060076"/>
              <a:gd name="connsiteX59" fmla="*/ 1029528 w 1032516"/>
              <a:gd name="connsiteY59" fmla="*/ 507210 h 1060076"/>
              <a:gd name="connsiteX60" fmla="*/ 1025046 w 1032516"/>
              <a:gd name="connsiteY60" fmla="*/ 462383 h 1060076"/>
              <a:gd name="connsiteX61" fmla="*/ 1019069 w 1032516"/>
              <a:gd name="connsiteY61" fmla="*/ 417556 h 1060076"/>
              <a:gd name="connsiteX62" fmla="*/ 1011597 w 1032516"/>
              <a:gd name="connsiteY62" fmla="*/ 377211 h 1060076"/>
              <a:gd name="connsiteX63" fmla="*/ 1011597 w 1032516"/>
              <a:gd name="connsiteY63" fmla="*/ 374223 h 1060076"/>
              <a:gd name="connsiteX64" fmla="*/ 999644 w 1032516"/>
              <a:gd name="connsiteY64" fmla="*/ 332384 h 1060076"/>
              <a:gd name="connsiteX65" fmla="*/ 995161 w 1032516"/>
              <a:gd name="connsiteY65" fmla="*/ 317442 h 1060076"/>
              <a:gd name="connsiteX66" fmla="*/ 990678 w 1032516"/>
              <a:gd name="connsiteY66" fmla="*/ 305488 h 1060076"/>
              <a:gd name="connsiteX67" fmla="*/ 987690 w 1032516"/>
              <a:gd name="connsiteY67" fmla="*/ 299511 h 1060076"/>
              <a:gd name="connsiteX68" fmla="*/ 977230 w 1032516"/>
              <a:gd name="connsiteY68" fmla="*/ 268132 h 1060076"/>
              <a:gd name="connsiteX69" fmla="*/ 941368 w 1032516"/>
              <a:gd name="connsiteY69" fmla="*/ 202386 h 1060076"/>
              <a:gd name="connsiteX70" fmla="*/ 902518 w 1032516"/>
              <a:gd name="connsiteY70" fmla="*/ 154570 h 1060076"/>
              <a:gd name="connsiteX71" fmla="*/ 836772 w 1032516"/>
              <a:gd name="connsiteY71" fmla="*/ 99284 h 1060076"/>
              <a:gd name="connsiteX72" fmla="*/ 803899 w 1032516"/>
              <a:gd name="connsiteY72" fmla="*/ 78364 h 1060076"/>
              <a:gd name="connsiteX73" fmla="*/ 762060 w 1032516"/>
              <a:gd name="connsiteY73" fmla="*/ 54457 h 1060076"/>
              <a:gd name="connsiteX74" fmla="*/ 723210 w 1032516"/>
              <a:gd name="connsiteY74" fmla="*/ 33537 h 1060076"/>
              <a:gd name="connsiteX75" fmla="*/ 705279 w 1032516"/>
              <a:gd name="connsiteY75" fmla="*/ 26066 h 1060076"/>
              <a:gd name="connsiteX76" fmla="*/ 648498 w 1032516"/>
              <a:gd name="connsiteY76" fmla="*/ 6641 h 1060076"/>
              <a:gd name="connsiteX77" fmla="*/ 603671 w 1032516"/>
              <a:gd name="connsiteY77" fmla="*/ 2158 h 106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1032516" h="1060076">
                <a:moveTo>
                  <a:pt x="603671" y="2158"/>
                </a:moveTo>
                <a:cubicBezTo>
                  <a:pt x="594706" y="664"/>
                  <a:pt x="587235" y="664"/>
                  <a:pt x="579763" y="664"/>
                </a:cubicBezTo>
                <a:cubicBezTo>
                  <a:pt x="543902" y="-830"/>
                  <a:pt x="506546" y="664"/>
                  <a:pt x="458730" y="664"/>
                </a:cubicBezTo>
                <a:cubicBezTo>
                  <a:pt x="439305" y="2158"/>
                  <a:pt x="418386" y="5147"/>
                  <a:pt x="395972" y="9629"/>
                </a:cubicBezTo>
                <a:cubicBezTo>
                  <a:pt x="370570" y="15606"/>
                  <a:pt x="349651" y="23078"/>
                  <a:pt x="330226" y="32043"/>
                </a:cubicBezTo>
                <a:cubicBezTo>
                  <a:pt x="325743" y="33537"/>
                  <a:pt x="321261" y="35032"/>
                  <a:pt x="316778" y="38020"/>
                </a:cubicBezTo>
                <a:cubicBezTo>
                  <a:pt x="304824" y="43997"/>
                  <a:pt x="291376" y="49974"/>
                  <a:pt x="279422" y="57445"/>
                </a:cubicBezTo>
                <a:lnTo>
                  <a:pt x="271951" y="61928"/>
                </a:lnTo>
                <a:cubicBezTo>
                  <a:pt x="259997" y="69399"/>
                  <a:pt x="248043" y="73882"/>
                  <a:pt x="239078" y="81353"/>
                </a:cubicBezTo>
                <a:cubicBezTo>
                  <a:pt x="237583" y="81353"/>
                  <a:pt x="237583" y="81353"/>
                  <a:pt x="236089" y="82847"/>
                </a:cubicBezTo>
                <a:cubicBezTo>
                  <a:pt x="222641" y="90318"/>
                  <a:pt x="210687" y="97789"/>
                  <a:pt x="200228" y="103766"/>
                </a:cubicBezTo>
                <a:cubicBezTo>
                  <a:pt x="195745" y="106755"/>
                  <a:pt x="191262" y="111237"/>
                  <a:pt x="186779" y="112732"/>
                </a:cubicBezTo>
                <a:lnTo>
                  <a:pt x="182297" y="115720"/>
                </a:lnTo>
                <a:cubicBezTo>
                  <a:pt x="167354" y="127674"/>
                  <a:pt x="152412" y="141122"/>
                  <a:pt x="140458" y="154570"/>
                </a:cubicBezTo>
                <a:lnTo>
                  <a:pt x="137470" y="157559"/>
                </a:lnTo>
                <a:cubicBezTo>
                  <a:pt x="116550" y="178478"/>
                  <a:pt x="95631" y="202386"/>
                  <a:pt x="77700" y="224799"/>
                </a:cubicBezTo>
                <a:cubicBezTo>
                  <a:pt x="68735" y="236753"/>
                  <a:pt x="59769" y="248707"/>
                  <a:pt x="52298" y="259167"/>
                </a:cubicBezTo>
                <a:cubicBezTo>
                  <a:pt x="40344" y="277098"/>
                  <a:pt x="28390" y="296523"/>
                  <a:pt x="19425" y="315948"/>
                </a:cubicBezTo>
                <a:cubicBezTo>
                  <a:pt x="13448" y="332384"/>
                  <a:pt x="7471" y="348821"/>
                  <a:pt x="4483" y="368246"/>
                </a:cubicBezTo>
                <a:cubicBezTo>
                  <a:pt x="2988" y="374223"/>
                  <a:pt x="1494" y="381694"/>
                  <a:pt x="1494" y="387671"/>
                </a:cubicBezTo>
                <a:cubicBezTo>
                  <a:pt x="0" y="411579"/>
                  <a:pt x="0" y="432498"/>
                  <a:pt x="0" y="451923"/>
                </a:cubicBezTo>
                <a:cubicBezTo>
                  <a:pt x="0" y="480314"/>
                  <a:pt x="5977" y="508704"/>
                  <a:pt x="8965" y="532612"/>
                </a:cubicBezTo>
                <a:cubicBezTo>
                  <a:pt x="13448" y="553531"/>
                  <a:pt x="16437" y="577439"/>
                  <a:pt x="22414" y="601347"/>
                </a:cubicBezTo>
                <a:cubicBezTo>
                  <a:pt x="25402" y="613301"/>
                  <a:pt x="28390" y="625255"/>
                  <a:pt x="31379" y="635714"/>
                </a:cubicBezTo>
                <a:cubicBezTo>
                  <a:pt x="40344" y="662610"/>
                  <a:pt x="49310" y="689507"/>
                  <a:pt x="62758" y="719391"/>
                </a:cubicBezTo>
                <a:cubicBezTo>
                  <a:pt x="71723" y="741805"/>
                  <a:pt x="83677" y="762724"/>
                  <a:pt x="94137" y="782149"/>
                </a:cubicBezTo>
                <a:cubicBezTo>
                  <a:pt x="97125" y="786632"/>
                  <a:pt x="98620" y="791115"/>
                  <a:pt x="101608" y="795597"/>
                </a:cubicBezTo>
                <a:cubicBezTo>
                  <a:pt x="119539" y="826976"/>
                  <a:pt x="137470" y="853873"/>
                  <a:pt x="153906" y="879275"/>
                </a:cubicBezTo>
                <a:lnTo>
                  <a:pt x="155400" y="880769"/>
                </a:lnTo>
                <a:cubicBezTo>
                  <a:pt x="159883" y="888240"/>
                  <a:pt x="167354" y="897205"/>
                  <a:pt x="173331" y="904676"/>
                </a:cubicBezTo>
                <a:cubicBezTo>
                  <a:pt x="174826" y="907665"/>
                  <a:pt x="177814" y="910653"/>
                  <a:pt x="180802" y="913642"/>
                </a:cubicBezTo>
                <a:cubicBezTo>
                  <a:pt x="197239" y="933067"/>
                  <a:pt x="213676" y="949504"/>
                  <a:pt x="233101" y="965940"/>
                </a:cubicBezTo>
                <a:cubicBezTo>
                  <a:pt x="245055" y="976400"/>
                  <a:pt x="259997" y="985365"/>
                  <a:pt x="277928" y="995825"/>
                </a:cubicBezTo>
                <a:cubicBezTo>
                  <a:pt x="303330" y="1009273"/>
                  <a:pt x="325743" y="1018238"/>
                  <a:pt x="348157" y="1025710"/>
                </a:cubicBezTo>
                <a:cubicBezTo>
                  <a:pt x="349651" y="1025710"/>
                  <a:pt x="351145" y="1025710"/>
                  <a:pt x="352640" y="1027204"/>
                </a:cubicBezTo>
                <a:cubicBezTo>
                  <a:pt x="370570" y="1036169"/>
                  <a:pt x="385513" y="1042146"/>
                  <a:pt x="401949" y="1045135"/>
                </a:cubicBezTo>
                <a:cubicBezTo>
                  <a:pt x="425857" y="1052606"/>
                  <a:pt x="452753" y="1055594"/>
                  <a:pt x="481144" y="1058583"/>
                </a:cubicBezTo>
                <a:cubicBezTo>
                  <a:pt x="491603" y="1060077"/>
                  <a:pt x="502063" y="1060077"/>
                  <a:pt x="512523" y="1060077"/>
                </a:cubicBezTo>
                <a:cubicBezTo>
                  <a:pt x="515511" y="1060077"/>
                  <a:pt x="518500" y="1060077"/>
                  <a:pt x="521488" y="1060077"/>
                </a:cubicBezTo>
                <a:cubicBezTo>
                  <a:pt x="530454" y="1060077"/>
                  <a:pt x="540913" y="1060077"/>
                  <a:pt x="549879" y="1060077"/>
                </a:cubicBezTo>
                <a:cubicBezTo>
                  <a:pt x="551373" y="1060077"/>
                  <a:pt x="552867" y="1060077"/>
                  <a:pt x="554361" y="1060077"/>
                </a:cubicBezTo>
                <a:cubicBezTo>
                  <a:pt x="564821" y="1060077"/>
                  <a:pt x="575281" y="1058583"/>
                  <a:pt x="585740" y="1058583"/>
                </a:cubicBezTo>
                <a:cubicBezTo>
                  <a:pt x="587235" y="1058583"/>
                  <a:pt x="590223" y="1058583"/>
                  <a:pt x="593212" y="1058583"/>
                </a:cubicBezTo>
                <a:cubicBezTo>
                  <a:pt x="603671" y="1057089"/>
                  <a:pt x="614131" y="1057089"/>
                  <a:pt x="624590" y="1055594"/>
                </a:cubicBezTo>
                <a:cubicBezTo>
                  <a:pt x="644015" y="1052606"/>
                  <a:pt x="661946" y="1049617"/>
                  <a:pt x="684360" y="1043640"/>
                </a:cubicBezTo>
                <a:cubicBezTo>
                  <a:pt x="703785" y="1037663"/>
                  <a:pt x="729187" y="1030192"/>
                  <a:pt x="753095" y="1019733"/>
                </a:cubicBezTo>
                <a:cubicBezTo>
                  <a:pt x="756083" y="1018238"/>
                  <a:pt x="757577" y="1018238"/>
                  <a:pt x="760566" y="1016744"/>
                </a:cubicBezTo>
                <a:cubicBezTo>
                  <a:pt x="787462" y="1004790"/>
                  <a:pt x="812864" y="989848"/>
                  <a:pt x="830795" y="977894"/>
                </a:cubicBezTo>
                <a:cubicBezTo>
                  <a:pt x="848726" y="965940"/>
                  <a:pt x="866657" y="952492"/>
                  <a:pt x="884587" y="934561"/>
                </a:cubicBezTo>
                <a:cubicBezTo>
                  <a:pt x="905507" y="915136"/>
                  <a:pt x="921943" y="897205"/>
                  <a:pt x="935391" y="880769"/>
                </a:cubicBezTo>
                <a:cubicBezTo>
                  <a:pt x="950334" y="861344"/>
                  <a:pt x="965276" y="840424"/>
                  <a:pt x="977230" y="816517"/>
                </a:cubicBezTo>
                <a:cubicBezTo>
                  <a:pt x="989184" y="794103"/>
                  <a:pt x="996655" y="768701"/>
                  <a:pt x="1004126" y="746288"/>
                </a:cubicBezTo>
                <a:cubicBezTo>
                  <a:pt x="1008609" y="732839"/>
                  <a:pt x="1011597" y="720886"/>
                  <a:pt x="1014586" y="704449"/>
                </a:cubicBezTo>
                <a:cubicBezTo>
                  <a:pt x="1017574" y="691001"/>
                  <a:pt x="1020563" y="673070"/>
                  <a:pt x="1023551" y="655139"/>
                </a:cubicBezTo>
                <a:cubicBezTo>
                  <a:pt x="1025046" y="650656"/>
                  <a:pt x="1025046" y="644680"/>
                  <a:pt x="1026540" y="637208"/>
                </a:cubicBezTo>
                <a:cubicBezTo>
                  <a:pt x="1026540" y="635714"/>
                  <a:pt x="1028034" y="632726"/>
                  <a:pt x="1028034" y="629737"/>
                </a:cubicBezTo>
                <a:cubicBezTo>
                  <a:pt x="1029528" y="625255"/>
                  <a:pt x="1029528" y="619278"/>
                  <a:pt x="1029528" y="613301"/>
                </a:cubicBezTo>
                <a:cubicBezTo>
                  <a:pt x="1029528" y="608818"/>
                  <a:pt x="1029528" y="604335"/>
                  <a:pt x="1031022" y="598358"/>
                </a:cubicBezTo>
                <a:cubicBezTo>
                  <a:pt x="1032517" y="583416"/>
                  <a:pt x="1032517" y="568474"/>
                  <a:pt x="1032517" y="553531"/>
                </a:cubicBezTo>
                <a:cubicBezTo>
                  <a:pt x="1032517" y="538589"/>
                  <a:pt x="1031022" y="523646"/>
                  <a:pt x="1029528" y="507210"/>
                </a:cubicBezTo>
                <a:cubicBezTo>
                  <a:pt x="1028034" y="492268"/>
                  <a:pt x="1026540" y="478819"/>
                  <a:pt x="1025046" y="462383"/>
                </a:cubicBezTo>
                <a:cubicBezTo>
                  <a:pt x="1023551" y="448935"/>
                  <a:pt x="1022057" y="433992"/>
                  <a:pt x="1019069" y="417556"/>
                </a:cubicBezTo>
                <a:cubicBezTo>
                  <a:pt x="1016080" y="404108"/>
                  <a:pt x="1013092" y="390660"/>
                  <a:pt x="1011597" y="377211"/>
                </a:cubicBezTo>
                <a:lnTo>
                  <a:pt x="1011597" y="374223"/>
                </a:lnTo>
                <a:cubicBezTo>
                  <a:pt x="1008609" y="360775"/>
                  <a:pt x="1004126" y="345832"/>
                  <a:pt x="999644" y="332384"/>
                </a:cubicBezTo>
                <a:cubicBezTo>
                  <a:pt x="998149" y="327902"/>
                  <a:pt x="996655" y="321925"/>
                  <a:pt x="995161" y="317442"/>
                </a:cubicBezTo>
                <a:cubicBezTo>
                  <a:pt x="993667" y="312959"/>
                  <a:pt x="992172" y="308477"/>
                  <a:pt x="990678" y="305488"/>
                </a:cubicBezTo>
                <a:cubicBezTo>
                  <a:pt x="989184" y="302500"/>
                  <a:pt x="989184" y="301005"/>
                  <a:pt x="987690" y="299511"/>
                </a:cubicBezTo>
                <a:cubicBezTo>
                  <a:pt x="984701" y="289052"/>
                  <a:pt x="980218" y="280086"/>
                  <a:pt x="977230" y="268132"/>
                </a:cubicBezTo>
                <a:cubicBezTo>
                  <a:pt x="966770" y="244224"/>
                  <a:pt x="954816" y="221811"/>
                  <a:pt x="941368" y="202386"/>
                </a:cubicBezTo>
                <a:cubicBezTo>
                  <a:pt x="930909" y="185949"/>
                  <a:pt x="918955" y="171007"/>
                  <a:pt x="902518" y="154570"/>
                </a:cubicBezTo>
                <a:cubicBezTo>
                  <a:pt x="883093" y="133651"/>
                  <a:pt x="859185" y="115720"/>
                  <a:pt x="836772" y="99284"/>
                </a:cubicBezTo>
                <a:cubicBezTo>
                  <a:pt x="826312" y="91812"/>
                  <a:pt x="814358" y="84341"/>
                  <a:pt x="803899" y="78364"/>
                </a:cubicBezTo>
                <a:cubicBezTo>
                  <a:pt x="788956" y="69399"/>
                  <a:pt x="775508" y="61928"/>
                  <a:pt x="762060" y="54457"/>
                </a:cubicBezTo>
                <a:cubicBezTo>
                  <a:pt x="747118" y="46985"/>
                  <a:pt x="735164" y="41008"/>
                  <a:pt x="723210" y="33537"/>
                </a:cubicBezTo>
                <a:cubicBezTo>
                  <a:pt x="717233" y="30549"/>
                  <a:pt x="711256" y="27560"/>
                  <a:pt x="705279" y="26066"/>
                </a:cubicBezTo>
                <a:cubicBezTo>
                  <a:pt x="687348" y="18595"/>
                  <a:pt x="669417" y="12618"/>
                  <a:pt x="648498" y="6641"/>
                </a:cubicBezTo>
                <a:cubicBezTo>
                  <a:pt x="636544" y="8135"/>
                  <a:pt x="620108" y="5147"/>
                  <a:pt x="603671" y="2158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04D16E4-4624-4278-B715-67880DA96A00}"/>
              </a:ext>
            </a:extLst>
          </p:cNvPr>
          <p:cNvSpPr/>
          <p:nvPr userDrawn="1"/>
        </p:nvSpPr>
        <p:spPr>
          <a:xfrm>
            <a:off x="7282543" y="2020659"/>
            <a:ext cx="1061311" cy="1001193"/>
          </a:xfrm>
          <a:custGeom>
            <a:avLst/>
            <a:gdLst>
              <a:gd name="connsiteX0" fmla="*/ 835278 w 877116"/>
              <a:gd name="connsiteY0" fmla="*/ 593211 h 827432"/>
              <a:gd name="connsiteX1" fmla="*/ 842749 w 877116"/>
              <a:gd name="connsiteY1" fmla="*/ 575281 h 827432"/>
              <a:gd name="connsiteX2" fmla="*/ 869645 w 877116"/>
              <a:gd name="connsiteY2" fmla="*/ 481144 h 827432"/>
              <a:gd name="connsiteX3" fmla="*/ 877116 w 877116"/>
              <a:gd name="connsiteY3" fmla="*/ 430340 h 827432"/>
              <a:gd name="connsiteX4" fmla="*/ 875622 w 877116"/>
              <a:gd name="connsiteY4" fmla="*/ 373559 h 827432"/>
              <a:gd name="connsiteX5" fmla="*/ 874128 w 877116"/>
              <a:gd name="connsiteY5" fmla="*/ 361605 h 827432"/>
              <a:gd name="connsiteX6" fmla="*/ 868151 w 877116"/>
              <a:gd name="connsiteY6" fmla="*/ 328732 h 827432"/>
              <a:gd name="connsiteX7" fmla="*/ 863668 w 877116"/>
              <a:gd name="connsiteY7" fmla="*/ 319766 h 827432"/>
              <a:gd name="connsiteX8" fmla="*/ 856197 w 877116"/>
              <a:gd name="connsiteY8" fmla="*/ 289882 h 827432"/>
              <a:gd name="connsiteX9" fmla="*/ 856197 w 877116"/>
              <a:gd name="connsiteY9" fmla="*/ 286893 h 827432"/>
              <a:gd name="connsiteX10" fmla="*/ 848726 w 877116"/>
              <a:gd name="connsiteY10" fmla="*/ 254020 h 827432"/>
              <a:gd name="connsiteX11" fmla="*/ 844243 w 877116"/>
              <a:gd name="connsiteY11" fmla="*/ 242066 h 827432"/>
              <a:gd name="connsiteX12" fmla="*/ 842749 w 877116"/>
              <a:gd name="connsiteY12" fmla="*/ 237583 h 827432"/>
              <a:gd name="connsiteX13" fmla="*/ 821829 w 877116"/>
              <a:gd name="connsiteY13" fmla="*/ 195745 h 827432"/>
              <a:gd name="connsiteX14" fmla="*/ 820335 w 877116"/>
              <a:gd name="connsiteY14" fmla="*/ 192756 h 827432"/>
              <a:gd name="connsiteX15" fmla="*/ 781485 w 877116"/>
              <a:gd name="connsiteY15" fmla="*/ 129998 h 827432"/>
              <a:gd name="connsiteX16" fmla="*/ 759072 w 877116"/>
              <a:gd name="connsiteY16" fmla="*/ 101608 h 827432"/>
              <a:gd name="connsiteX17" fmla="*/ 721716 w 877116"/>
              <a:gd name="connsiteY17" fmla="*/ 62758 h 827432"/>
              <a:gd name="connsiteX18" fmla="*/ 684360 w 877116"/>
              <a:gd name="connsiteY18" fmla="*/ 38850 h 827432"/>
              <a:gd name="connsiteX19" fmla="*/ 669417 w 877116"/>
              <a:gd name="connsiteY19" fmla="*/ 31379 h 827432"/>
              <a:gd name="connsiteX20" fmla="*/ 621602 w 877116"/>
              <a:gd name="connsiteY20" fmla="*/ 16437 h 827432"/>
              <a:gd name="connsiteX21" fmla="*/ 555856 w 877116"/>
              <a:gd name="connsiteY21" fmla="*/ 5977 h 827432"/>
              <a:gd name="connsiteX22" fmla="*/ 499075 w 877116"/>
              <a:gd name="connsiteY22" fmla="*/ 1494 h 827432"/>
              <a:gd name="connsiteX23" fmla="*/ 470684 w 877116"/>
              <a:gd name="connsiteY23" fmla="*/ 0 h 827432"/>
              <a:gd name="connsiteX24" fmla="*/ 397467 w 877116"/>
              <a:gd name="connsiteY24" fmla="*/ 4483 h 827432"/>
              <a:gd name="connsiteX25" fmla="*/ 340686 w 877116"/>
              <a:gd name="connsiteY25" fmla="*/ 14942 h 827432"/>
              <a:gd name="connsiteX26" fmla="*/ 328732 w 877116"/>
              <a:gd name="connsiteY26" fmla="*/ 17931 h 827432"/>
              <a:gd name="connsiteX27" fmla="*/ 251032 w 877116"/>
              <a:gd name="connsiteY27" fmla="*/ 40344 h 827432"/>
              <a:gd name="connsiteX28" fmla="*/ 251032 w 877116"/>
              <a:gd name="connsiteY28" fmla="*/ 41839 h 827432"/>
              <a:gd name="connsiteX29" fmla="*/ 227124 w 877116"/>
              <a:gd name="connsiteY29" fmla="*/ 50804 h 827432"/>
              <a:gd name="connsiteX30" fmla="*/ 218158 w 877116"/>
              <a:gd name="connsiteY30" fmla="*/ 55287 h 827432"/>
              <a:gd name="connsiteX31" fmla="*/ 165860 w 877116"/>
              <a:gd name="connsiteY31" fmla="*/ 83677 h 827432"/>
              <a:gd name="connsiteX32" fmla="*/ 131493 w 877116"/>
              <a:gd name="connsiteY32" fmla="*/ 112068 h 827432"/>
              <a:gd name="connsiteX33" fmla="*/ 92643 w 877116"/>
              <a:gd name="connsiteY33" fmla="*/ 159883 h 827432"/>
              <a:gd name="connsiteX34" fmla="*/ 89654 w 877116"/>
              <a:gd name="connsiteY34" fmla="*/ 162872 h 827432"/>
              <a:gd name="connsiteX35" fmla="*/ 64252 w 877116"/>
              <a:gd name="connsiteY35" fmla="*/ 197239 h 827432"/>
              <a:gd name="connsiteX36" fmla="*/ 34367 w 877116"/>
              <a:gd name="connsiteY36" fmla="*/ 255514 h 827432"/>
              <a:gd name="connsiteX37" fmla="*/ 25402 w 877116"/>
              <a:gd name="connsiteY37" fmla="*/ 279422 h 827432"/>
              <a:gd name="connsiteX38" fmla="*/ 23908 w 877116"/>
              <a:gd name="connsiteY38" fmla="*/ 285399 h 827432"/>
              <a:gd name="connsiteX39" fmla="*/ 16437 w 877116"/>
              <a:gd name="connsiteY39" fmla="*/ 307813 h 827432"/>
              <a:gd name="connsiteX40" fmla="*/ 14942 w 877116"/>
              <a:gd name="connsiteY40" fmla="*/ 310801 h 827432"/>
              <a:gd name="connsiteX41" fmla="*/ 8965 w 877116"/>
              <a:gd name="connsiteY41" fmla="*/ 334709 h 827432"/>
              <a:gd name="connsiteX42" fmla="*/ 7471 w 877116"/>
              <a:gd name="connsiteY42" fmla="*/ 340686 h 827432"/>
              <a:gd name="connsiteX43" fmla="*/ 2988 w 877116"/>
              <a:gd name="connsiteY43" fmla="*/ 366088 h 827432"/>
              <a:gd name="connsiteX44" fmla="*/ 0 w 877116"/>
              <a:gd name="connsiteY44" fmla="*/ 415397 h 827432"/>
              <a:gd name="connsiteX45" fmla="*/ 2988 w 877116"/>
              <a:gd name="connsiteY45" fmla="*/ 475167 h 827432"/>
              <a:gd name="connsiteX46" fmla="*/ 4483 w 877116"/>
              <a:gd name="connsiteY46" fmla="*/ 482638 h 827432"/>
              <a:gd name="connsiteX47" fmla="*/ 19425 w 877116"/>
              <a:gd name="connsiteY47" fmla="*/ 546890 h 827432"/>
              <a:gd name="connsiteX48" fmla="*/ 40344 w 877116"/>
              <a:gd name="connsiteY48" fmla="*/ 599188 h 827432"/>
              <a:gd name="connsiteX49" fmla="*/ 70229 w 877116"/>
              <a:gd name="connsiteY49" fmla="*/ 651487 h 827432"/>
              <a:gd name="connsiteX50" fmla="*/ 110573 w 877116"/>
              <a:gd name="connsiteY50" fmla="*/ 699302 h 827432"/>
              <a:gd name="connsiteX51" fmla="*/ 159883 w 877116"/>
              <a:gd name="connsiteY51" fmla="*/ 736658 h 827432"/>
              <a:gd name="connsiteX52" fmla="*/ 189768 w 877116"/>
              <a:gd name="connsiteY52" fmla="*/ 754589 h 827432"/>
              <a:gd name="connsiteX53" fmla="*/ 225630 w 877116"/>
              <a:gd name="connsiteY53" fmla="*/ 774014 h 827432"/>
              <a:gd name="connsiteX54" fmla="*/ 239078 w 877116"/>
              <a:gd name="connsiteY54" fmla="*/ 779991 h 827432"/>
              <a:gd name="connsiteX55" fmla="*/ 245055 w 877116"/>
              <a:gd name="connsiteY55" fmla="*/ 782979 h 827432"/>
              <a:gd name="connsiteX56" fmla="*/ 257009 w 877116"/>
              <a:gd name="connsiteY56" fmla="*/ 787462 h 827432"/>
              <a:gd name="connsiteX57" fmla="*/ 268962 w 877116"/>
              <a:gd name="connsiteY57" fmla="*/ 791945 h 827432"/>
              <a:gd name="connsiteX58" fmla="*/ 303330 w 877116"/>
              <a:gd name="connsiteY58" fmla="*/ 803899 h 827432"/>
              <a:gd name="connsiteX59" fmla="*/ 340686 w 877116"/>
              <a:gd name="connsiteY59" fmla="*/ 812864 h 827432"/>
              <a:gd name="connsiteX60" fmla="*/ 376547 w 877116"/>
              <a:gd name="connsiteY60" fmla="*/ 818841 h 827432"/>
              <a:gd name="connsiteX61" fmla="*/ 412409 w 877116"/>
              <a:gd name="connsiteY61" fmla="*/ 823324 h 827432"/>
              <a:gd name="connsiteX62" fmla="*/ 445282 w 877116"/>
              <a:gd name="connsiteY62" fmla="*/ 826312 h 827432"/>
              <a:gd name="connsiteX63" fmla="*/ 448271 w 877116"/>
              <a:gd name="connsiteY63" fmla="*/ 826312 h 827432"/>
              <a:gd name="connsiteX64" fmla="*/ 484132 w 877116"/>
              <a:gd name="connsiteY64" fmla="*/ 826312 h 827432"/>
              <a:gd name="connsiteX65" fmla="*/ 497580 w 877116"/>
              <a:gd name="connsiteY65" fmla="*/ 826312 h 827432"/>
              <a:gd name="connsiteX66" fmla="*/ 508040 w 877116"/>
              <a:gd name="connsiteY66" fmla="*/ 826312 h 827432"/>
              <a:gd name="connsiteX67" fmla="*/ 512523 w 877116"/>
              <a:gd name="connsiteY67" fmla="*/ 826312 h 827432"/>
              <a:gd name="connsiteX68" fmla="*/ 539419 w 877116"/>
              <a:gd name="connsiteY68" fmla="*/ 824818 h 827432"/>
              <a:gd name="connsiteX69" fmla="*/ 599188 w 877116"/>
              <a:gd name="connsiteY69" fmla="*/ 811370 h 827432"/>
              <a:gd name="connsiteX70" fmla="*/ 645510 w 877116"/>
              <a:gd name="connsiteY70" fmla="*/ 791945 h 827432"/>
              <a:gd name="connsiteX71" fmla="*/ 703785 w 877116"/>
              <a:gd name="connsiteY71" fmla="*/ 753095 h 827432"/>
              <a:gd name="connsiteX72" fmla="*/ 727693 w 877116"/>
              <a:gd name="connsiteY72" fmla="*/ 732175 h 827432"/>
              <a:gd name="connsiteX73" fmla="*/ 756083 w 877116"/>
              <a:gd name="connsiteY73" fmla="*/ 705279 h 827432"/>
              <a:gd name="connsiteX74" fmla="*/ 781485 w 877116"/>
              <a:gd name="connsiteY74" fmla="*/ 679877 h 827432"/>
              <a:gd name="connsiteX75" fmla="*/ 791945 w 877116"/>
              <a:gd name="connsiteY75" fmla="*/ 667923 h 827432"/>
              <a:gd name="connsiteX76" fmla="*/ 820335 w 877116"/>
              <a:gd name="connsiteY76" fmla="*/ 629073 h 827432"/>
              <a:gd name="connsiteX77" fmla="*/ 835278 w 877116"/>
              <a:gd name="connsiteY77" fmla="*/ 593211 h 8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877116" h="827432">
                <a:moveTo>
                  <a:pt x="835278" y="593211"/>
                </a:moveTo>
                <a:cubicBezTo>
                  <a:pt x="838266" y="587235"/>
                  <a:pt x="839760" y="579763"/>
                  <a:pt x="842749" y="575281"/>
                </a:cubicBezTo>
                <a:cubicBezTo>
                  <a:pt x="851714" y="548384"/>
                  <a:pt x="859185" y="518500"/>
                  <a:pt x="869645" y="481144"/>
                </a:cubicBezTo>
                <a:cubicBezTo>
                  <a:pt x="874128" y="464707"/>
                  <a:pt x="875622" y="448271"/>
                  <a:pt x="877116" y="430340"/>
                </a:cubicBezTo>
                <a:cubicBezTo>
                  <a:pt x="877116" y="409420"/>
                  <a:pt x="877116" y="391490"/>
                  <a:pt x="875622" y="373559"/>
                </a:cubicBezTo>
                <a:cubicBezTo>
                  <a:pt x="875622" y="369076"/>
                  <a:pt x="874128" y="366088"/>
                  <a:pt x="874128" y="361605"/>
                </a:cubicBezTo>
                <a:cubicBezTo>
                  <a:pt x="872633" y="349651"/>
                  <a:pt x="869645" y="339191"/>
                  <a:pt x="868151" y="328732"/>
                </a:cubicBezTo>
                <a:lnTo>
                  <a:pt x="863668" y="319766"/>
                </a:lnTo>
                <a:cubicBezTo>
                  <a:pt x="860680" y="307813"/>
                  <a:pt x="859185" y="298847"/>
                  <a:pt x="856197" y="289882"/>
                </a:cubicBezTo>
                <a:cubicBezTo>
                  <a:pt x="856197" y="288387"/>
                  <a:pt x="856197" y="288387"/>
                  <a:pt x="856197" y="286893"/>
                </a:cubicBezTo>
                <a:cubicBezTo>
                  <a:pt x="853208" y="274939"/>
                  <a:pt x="850220" y="264480"/>
                  <a:pt x="848726" y="254020"/>
                </a:cubicBezTo>
                <a:cubicBezTo>
                  <a:pt x="847232" y="249537"/>
                  <a:pt x="845737" y="245055"/>
                  <a:pt x="844243" y="242066"/>
                </a:cubicBezTo>
                <a:lnTo>
                  <a:pt x="842749" y="237583"/>
                </a:lnTo>
                <a:cubicBezTo>
                  <a:pt x="836772" y="222641"/>
                  <a:pt x="830795" y="209193"/>
                  <a:pt x="821829" y="195745"/>
                </a:cubicBezTo>
                <a:lnTo>
                  <a:pt x="820335" y="192756"/>
                </a:lnTo>
                <a:cubicBezTo>
                  <a:pt x="808381" y="170343"/>
                  <a:pt x="794933" y="149424"/>
                  <a:pt x="781485" y="129998"/>
                </a:cubicBezTo>
                <a:cubicBezTo>
                  <a:pt x="774014" y="119539"/>
                  <a:pt x="766543" y="110573"/>
                  <a:pt x="759072" y="101608"/>
                </a:cubicBezTo>
                <a:cubicBezTo>
                  <a:pt x="748612" y="89654"/>
                  <a:pt x="736658" y="74712"/>
                  <a:pt x="721716" y="62758"/>
                </a:cubicBezTo>
                <a:cubicBezTo>
                  <a:pt x="711256" y="53792"/>
                  <a:pt x="699302" y="46321"/>
                  <a:pt x="684360" y="38850"/>
                </a:cubicBezTo>
                <a:cubicBezTo>
                  <a:pt x="679877" y="35862"/>
                  <a:pt x="673900" y="34367"/>
                  <a:pt x="669417" y="31379"/>
                </a:cubicBezTo>
                <a:cubicBezTo>
                  <a:pt x="652981" y="25402"/>
                  <a:pt x="636544" y="20919"/>
                  <a:pt x="621602" y="16437"/>
                </a:cubicBezTo>
                <a:cubicBezTo>
                  <a:pt x="599188" y="10460"/>
                  <a:pt x="576775" y="7471"/>
                  <a:pt x="555856" y="5977"/>
                </a:cubicBezTo>
                <a:cubicBezTo>
                  <a:pt x="537925" y="4483"/>
                  <a:pt x="518500" y="1494"/>
                  <a:pt x="499075" y="1494"/>
                </a:cubicBezTo>
                <a:cubicBezTo>
                  <a:pt x="490109" y="0"/>
                  <a:pt x="479650" y="0"/>
                  <a:pt x="470684" y="0"/>
                </a:cubicBezTo>
                <a:cubicBezTo>
                  <a:pt x="448271" y="0"/>
                  <a:pt x="424363" y="1494"/>
                  <a:pt x="397467" y="4483"/>
                </a:cubicBezTo>
                <a:cubicBezTo>
                  <a:pt x="379536" y="7471"/>
                  <a:pt x="360111" y="11954"/>
                  <a:pt x="340686" y="14942"/>
                </a:cubicBezTo>
                <a:cubicBezTo>
                  <a:pt x="336203" y="16437"/>
                  <a:pt x="333215" y="16437"/>
                  <a:pt x="328732" y="17931"/>
                </a:cubicBezTo>
                <a:cubicBezTo>
                  <a:pt x="300341" y="23908"/>
                  <a:pt x="274939" y="31379"/>
                  <a:pt x="251032" y="40344"/>
                </a:cubicBezTo>
                <a:lnTo>
                  <a:pt x="251032" y="41839"/>
                </a:lnTo>
                <a:cubicBezTo>
                  <a:pt x="243560" y="44827"/>
                  <a:pt x="236089" y="47816"/>
                  <a:pt x="227124" y="50804"/>
                </a:cubicBezTo>
                <a:cubicBezTo>
                  <a:pt x="224135" y="52298"/>
                  <a:pt x="221147" y="53792"/>
                  <a:pt x="218158" y="55287"/>
                </a:cubicBezTo>
                <a:cubicBezTo>
                  <a:pt x="200228" y="64252"/>
                  <a:pt x="182297" y="73218"/>
                  <a:pt x="165860" y="83677"/>
                </a:cubicBezTo>
                <a:cubicBezTo>
                  <a:pt x="155400" y="89654"/>
                  <a:pt x="143447" y="100114"/>
                  <a:pt x="131493" y="112068"/>
                </a:cubicBezTo>
                <a:cubicBezTo>
                  <a:pt x="115056" y="128504"/>
                  <a:pt x="103102" y="143447"/>
                  <a:pt x="92643" y="159883"/>
                </a:cubicBezTo>
                <a:cubicBezTo>
                  <a:pt x="92643" y="161377"/>
                  <a:pt x="91148" y="162872"/>
                  <a:pt x="89654" y="162872"/>
                </a:cubicBezTo>
                <a:cubicBezTo>
                  <a:pt x="79194" y="174826"/>
                  <a:pt x="70229" y="185285"/>
                  <a:pt x="64252" y="197239"/>
                </a:cubicBezTo>
                <a:cubicBezTo>
                  <a:pt x="53792" y="215170"/>
                  <a:pt x="44827" y="234595"/>
                  <a:pt x="34367" y="255514"/>
                </a:cubicBezTo>
                <a:cubicBezTo>
                  <a:pt x="31379" y="262985"/>
                  <a:pt x="28390" y="271951"/>
                  <a:pt x="25402" y="279422"/>
                </a:cubicBezTo>
                <a:cubicBezTo>
                  <a:pt x="25402" y="282410"/>
                  <a:pt x="23908" y="283905"/>
                  <a:pt x="23908" y="285399"/>
                </a:cubicBezTo>
                <a:cubicBezTo>
                  <a:pt x="22414" y="292870"/>
                  <a:pt x="19425" y="300341"/>
                  <a:pt x="16437" y="307813"/>
                </a:cubicBezTo>
                <a:cubicBezTo>
                  <a:pt x="16437" y="309307"/>
                  <a:pt x="16437" y="310801"/>
                  <a:pt x="14942" y="310801"/>
                </a:cubicBezTo>
                <a:cubicBezTo>
                  <a:pt x="13448" y="318272"/>
                  <a:pt x="10460" y="327238"/>
                  <a:pt x="8965" y="334709"/>
                </a:cubicBezTo>
                <a:cubicBezTo>
                  <a:pt x="8965" y="336203"/>
                  <a:pt x="7471" y="339191"/>
                  <a:pt x="7471" y="340686"/>
                </a:cubicBezTo>
                <a:cubicBezTo>
                  <a:pt x="5977" y="349651"/>
                  <a:pt x="4483" y="357122"/>
                  <a:pt x="2988" y="366088"/>
                </a:cubicBezTo>
                <a:cubicBezTo>
                  <a:pt x="0" y="382524"/>
                  <a:pt x="0" y="397467"/>
                  <a:pt x="0" y="415397"/>
                </a:cubicBezTo>
                <a:cubicBezTo>
                  <a:pt x="0" y="431834"/>
                  <a:pt x="0" y="452753"/>
                  <a:pt x="2988" y="475167"/>
                </a:cubicBezTo>
                <a:cubicBezTo>
                  <a:pt x="2988" y="478155"/>
                  <a:pt x="2988" y="479650"/>
                  <a:pt x="4483" y="482638"/>
                </a:cubicBezTo>
                <a:cubicBezTo>
                  <a:pt x="7471" y="506546"/>
                  <a:pt x="13448" y="528959"/>
                  <a:pt x="19425" y="546890"/>
                </a:cubicBezTo>
                <a:cubicBezTo>
                  <a:pt x="25402" y="564821"/>
                  <a:pt x="31379" y="581258"/>
                  <a:pt x="40344" y="599188"/>
                </a:cubicBezTo>
                <a:cubicBezTo>
                  <a:pt x="50804" y="620108"/>
                  <a:pt x="59769" y="636544"/>
                  <a:pt x="70229" y="651487"/>
                </a:cubicBezTo>
                <a:cubicBezTo>
                  <a:pt x="82183" y="667923"/>
                  <a:pt x="95631" y="684360"/>
                  <a:pt x="110573" y="699302"/>
                </a:cubicBezTo>
                <a:cubicBezTo>
                  <a:pt x="125516" y="714245"/>
                  <a:pt x="143447" y="726198"/>
                  <a:pt x="159883" y="736658"/>
                </a:cubicBezTo>
                <a:cubicBezTo>
                  <a:pt x="168849" y="742635"/>
                  <a:pt x="177814" y="748612"/>
                  <a:pt x="189768" y="754589"/>
                </a:cubicBezTo>
                <a:cubicBezTo>
                  <a:pt x="200228" y="759072"/>
                  <a:pt x="212181" y="766543"/>
                  <a:pt x="225630" y="774014"/>
                </a:cubicBezTo>
                <a:cubicBezTo>
                  <a:pt x="230112" y="775508"/>
                  <a:pt x="234595" y="777002"/>
                  <a:pt x="239078" y="779991"/>
                </a:cubicBezTo>
                <a:cubicBezTo>
                  <a:pt x="240572" y="779991"/>
                  <a:pt x="243560" y="781485"/>
                  <a:pt x="245055" y="782979"/>
                </a:cubicBezTo>
                <a:cubicBezTo>
                  <a:pt x="249537" y="784474"/>
                  <a:pt x="252526" y="787462"/>
                  <a:pt x="257009" y="787462"/>
                </a:cubicBezTo>
                <a:cubicBezTo>
                  <a:pt x="259997" y="788956"/>
                  <a:pt x="264480" y="788956"/>
                  <a:pt x="268962" y="791945"/>
                </a:cubicBezTo>
                <a:cubicBezTo>
                  <a:pt x="280916" y="796427"/>
                  <a:pt x="291376" y="799416"/>
                  <a:pt x="303330" y="803899"/>
                </a:cubicBezTo>
                <a:cubicBezTo>
                  <a:pt x="315284" y="806887"/>
                  <a:pt x="327238" y="809876"/>
                  <a:pt x="340686" y="812864"/>
                </a:cubicBezTo>
                <a:cubicBezTo>
                  <a:pt x="352640" y="815853"/>
                  <a:pt x="364593" y="817347"/>
                  <a:pt x="376547" y="818841"/>
                </a:cubicBezTo>
                <a:cubicBezTo>
                  <a:pt x="387007" y="820335"/>
                  <a:pt x="398961" y="821829"/>
                  <a:pt x="412409" y="823324"/>
                </a:cubicBezTo>
                <a:cubicBezTo>
                  <a:pt x="422869" y="824818"/>
                  <a:pt x="434823" y="824818"/>
                  <a:pt x="445282" y="826312"/>
                </a:cubicBezTo>
                <a:lnTo>
                  <a:pt x="448271" y="826312"/>
                </a:lnTo>
                <a:cubicBezTo>
                  <a:pt x="460225" y="827806"/>
                  <a:pt x="472178" y="827806"/>
                  <a:pt x="484132" y="826312"/>
                </a:cubicBezTo>
                <a:cubicBezTo>
                  <a:pt x="488615" y="826312"/>
                  <a:pt x="493098" y="826312"/>
                  <a:pt x="497580" y="826312"/>
                </a:cubicBezTo>
                <a:cubicBezTo>
                  <a:pt x="500569" y="826312"/>
                  <a:pt x="505052" y="826312"/>
                  <a:pt x="508040" y="826312"/>
                </a:cubicBezTo>
                <a:cubicBezTo>
                  <a:pt x="509534" y="826312"/>
                  <a:pt x="511029" y="826312"/>
                  <a:pt x="512523" y="826312"/>
                </a:cubicBezTo>
                <a:cubicBezTo>
                  <a:pt x="521488" y="826312"/>
                  <a:pt x="528959" y="824818"/>
                  <a:pt x="539419" y="824818"/>
                </a:cubicBezTo>
                <a:cubicBezTo>
                  <a:pt x="560338" y="821829"/>
                  <a:pt x="581258" y="817347"/>
                  <a:pt x="599188" y="811370"/>
                </a:cubicBezTo>
                <a:cubicBezTo>
                  <a:pt x="614131" y="806887"/>
                  <a:pt x="629073" y="800910"/>
                  <a:pt x="645510" y="791945"/>
                </a:cubicBezTo>
                <a:cubicBezTo>
                  <a:pt x="666429" y="781485"/>
                  <a:pt x="685854" y="766543"/>
                  <a:pt x="703785" y="753095"/>
                </a:cubicBezTo>
                <a:cubicBezTo>
                  <a:pt x="712750" y="747118"/>
                  <a:pt x="720222" y="739647"/>
                  <a:pt x="727693" y="732175"/>
                </a:cubicBezTo>
                <a:cubicBezTo>
                  <a:pt x="738152" y="723210"/>
                  <a:pt x="747118" y="714245"/>
                  <a:pt x="756083" y="705279"/>
                </a:cubicBezTo>
                <a:cubicBezTo>
                  <a:pt x="765049" y="696314"/>
                  <a:pt x="774014" y="687348"/>
                  <a:pt x="781485" y="679877"/>
                </a:cubicBezTo>
                <a:cubicBezTo>
                  <a:pt x="785968" y="675394"/>
                  <a:pt x="788956" y="672406"/>
                  <a:pt x="791945" y="667923"/>
                </a:cubicBezTo>
                <a:cubicBezTo>
                  <a:pt x="802404" y="655969"/>
                  <a:pt x="811370" y="642521"/>
                  <a:pt x="820335" y="629073"/>
                </a:cubicBezTo>
                <a:cubicBezTo>
                  <a:pt x="821829" y="617119"/>
                  <a:pt x="829301" y="605165"/>
                  <a:pt x="835278" y="593211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D35F429-8BCA-4411-8719-5FFABD82F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6905CEB-E1ED-4EAB-8BA5-F7164DB8FB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1450CC9-1875-797B-89AC-CA7FF81E04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6539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rId2" action="ppaction://hlinksldjump"/>
            <a:extLst>
              <a:ext uri="{FF2B5EF4-FFF2-40B4-BE49-F238E27FC236}">
                <a16:creationId xmlns:a16="http://schemas.microsoft.com/office/drawing/2014/main" id="{B0F5F316-B60A-0947-854D-8849CA1E19CF}"/>
              </a:ext>
            </a:extLst>
          </p:cNvPr>
          <p:cNvSpPr/>
          <p:nvPr userDrawn="1"/>
        </p:nvSpPr>
        <p:spPr>
          <a:xfrm>
            <a:off x="1" y="3"/>
            <a:ext cx="5034254" cy="8229598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8946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</a:endParaRPr>
          </a:p>
        </p:txBody>
      </p:sp>
      <p:sp>
        <p:nvSpPr>
          <p:cNvPr id="42" name="Title 9">
            <a:extLst>
              <a:ext uri="{FF2B5EF4-FFF2-40B4-BE49-F238E27FC236}">
                <a16:creationId xmlns:a16="http://schemas.microsoft.com/office/drawing/2014/main" id="{FF542652-F6F5-0E47-96C0-9CDE9CEE1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928" y="2002976"/>
            <a:ext cx="3473754" cy="1965390"/>
          </a:xfrm>
        </p:spPr>
        <p:txBody>
          <a:bodyPr anchor="t"/>
          <a:lstStyle>
            <a:lvl1pPr>
              <a:defRPr sz="360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ext Styles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D01C10BF-070F-E04E-B8AD-8A6AB4267D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3928" y="4288011"/>
            <a:ext cx="3472870" cy="1784728"/>
          </a:xfrm>
        </p:spPr>
        <p:txBody>
          <a:bodyPr/>
          <a:lstStyle>
            <a:lvl1pPr marL="0" indent="0">
              <a:buNone/>
              <a:defRPr sz="1920" b="0" i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C9909625-C924-5C4B-A25A-965AEF0D613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35999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85885235-5F03-9F44-BC12-000C4288B00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0595478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D28BC2E-F3FD-47B7-A99A-D8F2E5977D3A}"/>
              </a:ext>
            </a:extLst>
          </p:cNvPr>
          <p:cNvSpPr/>
          <p:nvPr userDrawn="1"/>
        </p:nvSpPr>
        <p:spPr>
          <a:xfrm>
            <a:off x="11639347" y="1991217"/>
            <a:ext cx="1032516" cy="1060076"/>
          </a:xfrm>
          <a:custGeom>
            <a:avLst/>
            <a:gdLst>
              <a:gd name="connsiteX0" fmla="*/ 603671 w 1032516"/>
              <a:gd name="connsiteY0" fmla="*/ 2158 h 1060076"/>
              <a:gd name="connsiteX1" fmla="*/ 579763 w 1032516"/>
              <a:gd name="connsiteY1" fmla="*/ 664 h 1060076"/>
              <a:gd name="connsiteX2" fmla="*/ 458730 w 1032516"/>
              <a:gd name="connsiteY2" fmla="*/ 664 h 1060076"/>
              <a:gd name="connsiteX3" fmla="*/ 395972 w 1032516"/>
              <a:gd name="connsiteY3" fmla="*/ 9629 h 1060076"/>
              <a:gd name="connsiteX4" fmla="*/ 330226 w 1032516"/>
              <a:gd name="connsiteY4" fmla="*/ 32043 h 1060076"/>
              <a:gd name="connsiteX5" fmla="*/ 316778 w 1032516"/>
              <a:gd name="connsiteY5" fmla="*/ 38020 h 1060076"/>
              <a:gd name="connsiteX6" fmla="*/ 279422 w 1032516"/>
              <a:gd name="connsiteY6" fmla="*/ 57445 h 1060076"/>
              <a:gd name="connsiteX7" fmla="*/ 271951 w 1032516"/>
              <a:gd name="connsiteY7" fmla="*/ 61928 h 1060076"/>
              <a:gd name="connsiteX8" fmla="*/ 239078 w 1032516"/>
              <a:gd name="connsiteY8" fmla="*/ 81353 h 1060076"/>
              <a:gd name="connsiteX9" fmla="*/ 236089 w 1032516"/>
              <a:gd name="connsiteY9" fmla="*/ 82847 h 1060076"/>
              <a:gd name="connsiteX10" fmla="*/ 200228 w 1032516"/>
              <a:gd name="connsiteY10" fmla="*/ 103766 h 1060076"/>
              <a:gd name="connsiteX11" fmla="*/ 186779 w 1032516"/>
              <a:gd name="connsiteY11" fmla="*/ 112732 h 1060076"/>
              <a:gd name="connsiteX12" fmla="*/ 182297 w 1032516"/>
              <a:gd name="connsiteY12" fmla="*/ 115720 h 1060076"/>
              <a:gd name="connsiteX13" fmla="*/ 140458 w 1032516"/>
              <a:gd name="connsiteY13" fmla="*/ 154570 h 1060076"/>
              <a:gd name="connsiteX14" fmla="*/ 137470 w 1032516"/>
              <a:gd name="connsiteY14" fmla="*/ 157559 h 1060076"/>
              <a:gd name="connsiteX15" fmla="*/ 77700 w 1032516"/>
              <a:gd name="connsiteY15" fmla="*/ 224799 h 1060076"/>
              <a:gd name="connsiteX16" fmla="*/ 52298 w 1032516"/>
              <a:gd name="connsiteY16" fmla="*/ 259167 h 1060076"/>
              <a:gd name="connsiteX17" fmla="*/ 19425 w 1032516"/>
              <a:gd name="connsiteY17" fmla="*/ 315948 h 1060076"/>
              <a:gd name="connsiteX18" fmla="*/ 4483 w 1032516"/>
              <a:gd name="connsiteY18" fmla="*/ 368246 h 1060076"/>
              <a:gd name="connsiteX19" fmla="*/ 1494 w 1032516"/>
              <a:gd name="connsiteY19" fmla="*/ 387671 h 1060076"/>
              <a:gd name="connsiteX20" fmla="*/ 0 w 1032516"/>
              <a:gd name="connsiteY20" fmla="*/ 451923 h 1060076"/>
              <a:gd name="connsiteX21" fmla="*/ 8965 w 1032516"/>
              <a:gd name="connsiteY21" fmla="*/ 532612 h 1060076"/>
              <a:gd name="connsiteX22" fmla="*/ 22414 w 1032516"/>
              <a:gd name="connsiteY22" fmla="*/ 601347 h 1060076"/>
              <a:gd name="connsiteX23" fmla="*/ 31379 w 1032516"/>
              <a:gd name="connsiteY23" fmla="*/ 635714 h 1060076"/>
              <a:gd name="connsiteX24" fmla="*/ 62758 w 1032516"/>
              <a:gd name="connsiteY24" fmla="*/ 719391 h 1060076"/>
              <a:gd name="connsiteX25" fmla="*/ 94137 w 1032516"/>
              <a:gd name="connsiteY25" fmla="*/ 782149 h 1060076"/>
              <a:gd name="connsiteX26" fmla="*/ 101608 w 1032516"/>
              <a:gd name="connsiteY26" fmla="*/ 795597 h 1060076"/>
              <a:gd name="connsiteX27" fmla="*/ 153906 w 1032516"/>
              <a:gd name="connsiteY27" fmla="*/ 879275 h 1060076"/>
              <a:gd name="connsiteX28" fmla="*/ 155400 w 1032516"/>
              <a:gd name="connsiteY28" fmla="*/ 880769 h 1060076"/>
              <a:gd name="connsiteX29" fmla="*/ 173331 w 1032516"/>
              <a:gd name="connsiteY29" fmla="*/ 904676 h 1060076"/>
              <a:gd name="connsiteX30" fmla="*/ 180802 w 1032516"/>
              <a:gd name="connsiteY30" fmla="*/ 913642 h 1060076"/>
              <a:gd name="connsiteX31" fmla="*/ 233101 w 1032516"/>
              <a:gd name="connsiteY31" fmla="*/ 965940 h 1060076"/>
              <a:gd name="connsiteX32" fmla="*/ 277928 w 1032516"/>
              <a:gd name="connsiteY32" fmla="*/ 995825 h 1060076"/>
              <a:gd name="connsiteX33" fmla="*/ 348157 w 1032516"/>
              <a:gd name="connsiteY33" fmla="*/ 1025710 h 1060076"/>
              <a:gd name="connsiteX34" fmla="*/ 352640 w 1032516"/>
              <a:gd name="connsiteY34" fmla="*/ 1027204 h 1060076"/>
              <a:gd name="connsiteX35" fmla="*/ 401949 w 1032516"/>
              <a:gd name="connsiteY35" fmla="*/ 1045135 h 1060076"/>
              <a:gd name="connsiteX36" fmla="*/ 481144 w 1032516"/>
              <a:gd name="connsiteY36" fmla="*/ 1058583 h 1060076"/>
              <a:gd name="connsiteX37" fmla="*/ 512523 w 1032516"/>
              <a:gd name="connsiteY37" fmla="*/ 1060077 h 1060076"/>
              <a:gd name="connsiteX38" fmla="*/ 521488 w 1032516"/>
              <a:gd name="connsiteY38" fmla="*/ 1060077 h 1060076"/>
              <a:gd name="connsiteX39" fmla="*/ 549879 w 1032516"/>
              <a:gd name="connsiteY39" fmla="*/ 1060077 h 1060076"/>
              <a:gd name="connsiteX40" fmla="*/ 554361 w 1032516"/>
              <a:gd name="connsiteY40" fmla="*/ 1060077 h 1060076"/>
              <a:gd name="connsiteX41" fmla="*/ 585740 w 1032516"/>
              <a:gd name="connsiteY41" fmla="*/ 1058583 h 1060076"/>
              <a:gd name="connsiteX42" fmla="*/ 593212 w 1032516"/>
              <a:gd name="connsiteY42" fmla="*/ 1058583 h 1060076"/>
              <a:gd name="connsiteX43" fmla="*/ 624590 w 1032516"/>
              <a:gd name="connsiteY43" fmla="*/ 1055594 h 1060076"/>
              <a:gd name="connsiteX44" fmla="*/ 684360 w 1032516"/>
              <a:gd name="connsiteY44" fmla="*/ 1043640 h 1060076"/>
              <a:gd name="connsiteX45" fmla="*/ 753095 w 1032516"/>
              <a:gd name="connsiteY45" fmla="*/ 1019733 h 1060076"/>
              <a:gd name="connsiteX46" fmla="*/ 760566 w 1032516"/>
              <a:gd name="connsiteY46" fmla="*/ 1016744 h 1060076"/>
              <a:gd name="connsiteX47" fmla="*/ 830795 w 1032516"/>
              <a:gd name="connsiteY47" fmla="*/ 977894 h 1060076"/>
              <a:gd name="connsiteX48" fmla="*/ 884587 w 1032516"/>
              <a:gd name="connsiteY48" fmla="*/ 934561 h 1060076"/>
              <a:gd name="connsiteX49" fmla="*/ 935391 w 1032516"/>
              <a:gd name="connsiteY49" fmla="*/ 880769 h 1060076"/>
              <a:gd name="connsiteX50" fmla="*/ 977230 w 1032516"/>
              <a:gd name="connsiteY50" fmla="*/ 816517 h 1060076"/>
              <a:gd name="connsiteX51" fmla="*/ 1004126 w 1032516"/>
              <a:gd name="connsiteY51" fmla="*/ 746288 h 1060076"/>
              <a:gd name="connsiteX52" fmla="*/ 1014586 w 1032516"/>
              <a:gd name="connsiteY52" fmla="*/ 704449 h 1060076"/>
              <a:gd name="connsiteX53" fmla="*/ 1023551 w 1032516"/>
              <a:gd name="connsiteY53" fmla="*/ 655139 h 1060076"/>
              <a:gd name="connsiteX54" fmla="*/ 1026540 w 1032516"/>
              <a:gd name="connsiteY54" fmla="*/ 637208 h 1060076"/>
              <a:gd name="connsiteX55" fmla="*/ 1028034 w 1032516"/>
              <a:gd name="connsiteY55" fmla="*/ 629737 h 1060076"/>
              <a:gd name="connsiteX56" fmla="*/ 1029528 w 1032516"/>
              <a:gd name="connsiteY56" fmla="*/ 613301 h 1060076"/>
              <a:gd name="connsiteX57" fmla="*/ 1031022 w 1032516"/>
              <a:gd name="connsiteY57" fmla="*/ 598358 h 1060076"/>
              <a:gd name="connsiteX58" fmla="*/ 1032517 w 1032516"/>
              <a:gd name="connsiteY58" fmla="*/ 553531 h 1060076"/>
              <a:gd name="connsiteX59" fmla="*/ 1029528 w 1032516"/>
              <a:gd name="connsiteY59" fmla="*/ 507210 h 1060076"/>
              <a:gd name="connsiteX60" fmla="*/ 1025046 w 1032516"/>
              <a:gd name="connsiteY60" fmla="*/ 462383 h 1060076"/>
              <a:gd name="connsiteX61" fmla="*/ 1019069 w 1032516"/>
              <a:gd name="connsiteY61" fmla="*/ 417556 h 1060076"/>
              <a:gd name="connsiteX62" fmla="*/ 1011597 w 1032516"/>
              <a:gd name="connsiteY62" fmla="*/ 377211 h 1060076"/>
              <a:gd name="connsiteX63" fmla="*/ 1011597 w 1032516"/>
              <a:gd name="connsiteY63" fmla="*/ 374223 h 1060076"/>
              <a:gd name="connsiteX64" fmla="*/ 999644 w 1032516"/>
              <a:gd name="connsiteY64" fmla="*/ 332384 h 1060076"/>
              <a:gd name="connsiteX65" fmla="*/ 995161 w 1032516"/>
              <a:gd name="connsiteY65" fmla="*/ 317442 h 1060076"/>
              <a:gd name="connsiteX66" fmla="*/ 990678 w 1032516"/>
              <a:gd name="connsiteY66" fmla="*/ 305488 h 1060076"/>
              <a:gd name="connsiteX67" fmla="*/ 987690 w 1032516"/>
              <a:gd name="connsiteY67" fmla="*/ 299511 h 1060076"/>
              <a:gd name="connsiteX68" fmla="*/ 977230 w 1032516"/>
              <a:gd name="connsiteY68" fmla="*/ 268132 h 1060076"/>
              <a:gd name="connsiteX69" fmla="*/ 941368 w 1032516"/>
              <a:gd name="connsiteY69" fmla="*/ 202386 h 1060076"/>
              <a:gd name="connsiteX70" fmla="*/ 902518 w 1032516"/>
              <a:gd name="connsiteY70" fmla="*/ 154570 h 1060076"/>
              <a:gd name="connsiteX71" fmla="*/ 836772 w 1032516"/>
              <a:gd name="connsiteY71" fmla="*/ 99284 h 1060076"/>
              <a:gd name="connsiteX72" fmla="*/ 803899 w 1032516"/>
              <a:gd name="connsiteY72" fmla="*/ 78364 h 1060076"/>
              <a:gd name="connsiteX73" fmla="*/ 762060 w 1032516"/>
              <a:gd name="connsiteY73" fmla="*/ 54457 h 1060076"/>
              <a:gd name="connsiteX74" fmla="*/ 723210 w 1032516"/>
              <a:gd name="connsiteY74" fmla="*/ 33537 h 1060076"/>
              <a:gd name="connsiteX75" fmla="*/ 705279 w 1032516"/>
              <a:gd name="connsiteY75" fmla="*/ 26066 h 1060076"/>
              <a:gd name="connsiteX76" fmla="*/ 648498 w 1032516"/>
              <a:gd name="connsiteY76" fmla="*/ 6641 h 1060076"/>
              <a:gd name="connsiteX77" fmla="*/ 603671 w 1032516"/>
              <a:gd name="connsiteY77" fmla="*/ 2158 h 106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1032516" h="1060076">
                <a:moveTo>
                  <a:pt x="603671" y="2158"/>
                </a:moveTo>
                <a:cubicBezTo>
                  <a:pt x="594706" y="664"/>
                  <a:pt x="587235" y="664"/>
                  <a:pt x="579763" y="664"/>
                </a:cubicBezTo>
                <a:cubicBezTo>
                  <a:pt x="543902" y="-830"/>
                  <a:pt x="506546" y="664"/>
                  <a:pt x="458730" y="664"/>
                </a:cubicBezTo>
                <a:cubicBezTo>
                  <a:pt x="439305" y="2158"/>
                  <a:pt x="418386" y="5147"/>
                  <a:pt x="395972" y="9629"/>
                </a:cubicBezTo>
                <a:cubicBezTo>
                  <a:pt x="370570" y="15606"/>
                  <a:pt x="349651" y="23078"/>
                  <a:pt x="330226" y="32043"/>
                </a:cubicBezTo>
                <a:cubicBezTo>
                  <a:pt x="325743" y="33537"/>
                  <a:pt x="321261" y="35032"/>
                  <a:pt x="316778" y="38020"/>
                </a:cubicBezTo>
                <a:cubicBezTo>
                  <a:pt x="304824" y="43997"/>
                  <a:pt x="291376" y="49974"/>
                  <a:pt x="279422" y="57445"/>
                </a:cubicBezTo>
                <a:lnTo>
                  <a:pt x="271951" y="61928"/>
                </a:lnTo>
                <a:cubicBezTo>
                  <a:pt x="259997" y="69399"/>
                  <a:pt x="248043" y="73882"/>
                  <a:pt x="239078" y="81353"/>
                </a:cubicBezTo>
                <a:cubicBezTo>
                  <a:pt x="237583" y="81353"/>
                  <a:pt x="237583" y="81353"/>
                  <a:pt x="236089" y="82847"/>
                </a:cubicBezTo>
                <a:cubicBezTo>
                  <a:pt x="222641" y="90318"/>
                  <a:pt x="210687" y="97789"/>
                  <a:pt x="200228" y="103766"/>
                </a:cubicBezTo>
                <a:cubicBezTo>
                  <a:pt x="195745" y="106755"/>
                  <a:pt x="191262" y="111237"/>
                  <a:pt x="186779" y="112732"/>
                </a:cubicBezTo>
                <a:lnTo>
                  <a:pt x="182297" y="115720"/>
                </a:lnTo>
                <a:cubicBezTo>
                  <a:pt x="167354" y="127674"/>
                  <a:pt x="152412" y="141122"/>
                  <a:pt x="140458" y="154570"/>
                </a:cubicBezTo>
                <a:lnTo>
                  <a:pt x="137470" y="157559"/>
                </a:lnTo>
                <a:cubicBezTo>
                  <a:pt x="116550" y="178478"/>
                  <a:pt x="95631" y="202386"/>
                  <a:pt x="77700" y="224799"/>
                </a:cubicBezTo>
                <a:cubicBezTo>
                  <a:pt x="68735" y="236753"/>
                  <a:pt x="59769" y="248707"/>
                  <a:pt x="52298" y="259167"/>
                </a:cubicBezTo>
                <a:cubicBezTo>
                  <a:pt x="40344" y="277098"/>
                  <a:pt x="28390" y="296523"/>
                  <a:pt x="19425" y="315948"/>
                </a:cubicBezTo>
                <a:cubicBezTo>
                  <a:pt x="13448" y="332384"/>
                  <a:pt x="7471" y="348821"/>
                  <a:pt x="4483" y="368246"/>
                </a:cubicBezTo>
                <a:cubicBezTo>
                  <a:pt x="2988" y="374223"/>
                  <a:pt x="1494" y="381694"/>
                  <a:pt x="1494" y="387671"/>
                </a:cubicBezTo>
                <a:cubicBezTo>
                  <a:pt x="0" y="411579"/>
                  <a:pt x="0" y="432498"/>
                  <a:pt x="0" y="451923"/>
                </a:cubicBezTo>
                <a:cubicBezTo>
                  <a:pt x="0" y="480314"/>
                  <a:pt x="5977" y="508704"/>
                  <a:pt x="8965" y="532612"/>
                </a:cubicBezTo>
                <a:cubicBezTo>
                  <a:pt x="13448" y="553531"/>
                  <a:pt x="16437" y="577439"/>
                  <a:pt x="22414" y="601347"/>
                </a:cubicBezTo>
                <a:cubicBezTo>
                  <a:pt x="25402" y="613301"/>
                  <a:pt x="28390" y="625255"/>
                  <a:pt x="31379" y="635714"/>
                </a:cubicBezTo>
                <a:cubicBezTo>
                  <a:pt x="40344" y="662610"/>
                  <a:pt x="49310" y="689507"/>
                  <a:pt x="62758" y="719391"/>
                </a:cubicBezTo>
                <a:cubicBezTo>
                  <a:pt x="71723" y="741805"/>
                  <a:pt x="83677" y="762724"/>
                  <a:pt x="94137" y="782149"/>
                </a:cubicBezTo>
                <a:cubicBezTo>
                  <a:pt x="97125" y="786632"/>
                  <a:pt x="98620" y="791115"/>
                  <a:pt x="101608" y="795597"/>
                </a:cubicBezTo>
                <a:cubicBezTo>
                  <a:pt x="119539" y="826976"/>
                  <a:pt x="137470" y="853873"/>
                  <a:pt x="153906" y="879275"/>
                </a:cubicBezTo>
                <a:lnTo>
                  <a:pt x="155400" y="880769"/>
                </a:lnTo>
                <a:cubicBezTo>
                  <a:pt x="159883" y="888240"/>
                  <a:pt x="167354" y="897205"/>
                  <a:pt x="173331" y="904676"/>
                </a:cubicBezTo>
                <a:cubicBezTo>
                  <a:pt x="174826" y="907665"/>
                  <a:pt x="177814" y="910653"/>
                  <a:pt x="180802" y="913642"/>
                </a:cubicBezTo>
                <a:cubicBezTo>
                  <a:pt x="197239" y="933067"/>
                  <a:pt x="213676" y="949504"/>
                  <a:pt x="233101" y="965940"/>
                </a:cubicBezTo>
                <a:cubicBezTo>
                  <a:pt x="245055" y="976400"/>
                  <a:pt x="259997" y="985365"/>
                  <a:pt x="277928" y="995825"/>
                </a:cubicBezTo>
                <a:cubicBezTo>
                  <a:pt x="303330" y="1009273"/>
                  <a:pt x="325743" y="1018238"/>
                  <a:pt x="348157" y="1025710"/>
                </a:cubicBezTo>
                <a:cubicBezTo>
                  <a:pt x="349651" y="1025710"/>
                  <a:pt x="351145" y="1025710"/>
                  <a:pt x="352640" y="1027204"/>
                </a:cubicBezTo>
                <a:cubicBezTo>
                  <a:pt x="370570" y="1036169"/>
                  <a:pt x="385513" y="1042146"/>
                  <a:pt x="401949" y="1045135"/>
                </a:cubicBezTo>
                <a:cubicBezTo>
                  <a:pt x="425857" y="1052606"/>
                  <a:pt x="452753" y="1055594"/>
                  <a:pt x="481144" y="1058583"/>
                </a:cubicBezTo>
                <a:cubicBezTo>
                  <a:pt x="491603" y="1060077"/>
                  <a:pt x="502063" y="1060077"/>
                  <a:pt x="512523" y="1060077"/>
                </a:cubicBezTo>
                <a:cubicBezTo>
                  <a:pt x="515511" y="1060077"/>
                  <a:pt x="518500" y="1060077"/>
                  <a:pt x="521488" y="1060077"/>
                </a:cubicBezTo>
                <a:cubicBezTo>
                  <a:pt x="530454" y="1060077"/>
                  <a:pt x="540913" y="1060077"/>
                  <a:pt x="549879" y="1060077"/>
                </a:cubicBezTo>
                <a:cubicBezTo>
                  <a:pt x="551373" y="1060077"/>
                  <a:pt x="552867" y="1060077"/>
                  <a:pt x="554361" y="1060077"/>
                </a:cubicBezTo>
                <a:cubicBezTo>
                  <a:pt x="564821" y="1060077"/>
                  <a:pt x="575281" y="1058583"/>
                  <a:pt x="585740" y="1058583"/>
                </a:cubicBezTo>
                <a:cubicBezTo>
                  <a:pt x="587235" y="1058583"/>
                  <a:pt x="590223" y="1058583"/>
                  <a:pt x="593212" y="1058583"/>
                </a:cubicBezTo>
                <a:cubicBezTo>
                  <a:pt x="603671" y="1057089"/>
                  <a:pt x="614131" y="1057089"/>
                  <a:pt x="624590" y="1055594"/>
                </a:cubicBezTo>
                <a:cubicBezTo>
                  <a:pt x="644015" y="1052606"/>
                  <a:pt x="661946" y="1049617"/>
                  <a:pt x="684360" y="1043640"/>
                </a:cubicBezTo>
                <a:cubicBezTo>
                  <a:pt x="703785" y="1037663"/>
                  <a:pt x="729187" y="1030192"/>
                  <a:pt x="753095" y="1019733"/>
                </a:cubicBezTo>
                <a:cubicBezTo>
                  <a:pt x="756083" y="1018238"/>
                  <a:pt x="757577" y="1018238"/>
                  <a:pt x="760566" y="1016744"/>
                </a:cubicBezTo>
                <a:cubicBezTo>
                  <a:pt x="787462" y="1004790"/>
                  <a:pt x="812864" y="989848"/>
                  <a:pt x="830795" y="977894"/>
                </a:cubicBezTo>
                <a:cubicBezTo>
                  <a:pt x="848726" y="965940"/>
                  <a:pt x="866657" y="952492"/>
                  <a:pt x="884587" y="934561"/>
                </a:cubicBezTo>
                <a:cubicBezTo>
                  <a:pt x="905507" y="915136"/>
                  <a:pt x="921943" y="897205"/>
                  <a:pt x="935391" y="880769"/>
                </a:cubicBezTo>
                <a:cubicBezTo>
                  <a:pt x="950334" y="861344"/>
                  <a:pt x="965276" y="840424"/>
                  <a:pt x="977230" y="816517"/>
                </a:cubicBezTo>
                <a:cubicBezTo>
                  <a:pt x="989184" y="794103"/>
                  <a:pt x="996655" y="768701"/>
                  <a:pt x="1004126" y="746288"/>
                </a:cubicBezTo>
                <a:cubicBezTo>
                  <a:pt x="1008609" y="732839"/>
                  <a:pt x="1011597" y="720886"/>
                  <a:pt x="1014586" y="704449"/>
                </a:cubicBezTo>
                <a:cubicBezTo>
                  <a:pt x="1017574" y="691001"/>
                  <a:pt x="1020563" y="673070"/>
                  <a:pt x="1023551" y="655139"/>
                </a:cubicBezTo>
                <a:cubicBezTo>
                  <a:pt x="1025046" y="650656"/>
                  <a:pt x="1025046" y="644680"/>
                  <a:pt x="1026540" y="637208"/>
                </a:cubicBezTo>
                <a:cubicBezTo>
                  <a:pt x="1026540" y="635714"/>
                  <a:pt x="1028034" y="632726"/>
                  <a:pt x="1028034" y="629737"/>
                </a:cubicBezTo>
                <a:cubicBezTo>
                  <a:pt x="1029528" y="625255"/>
                  <a:pt x="1029528" y="619278"/>
                  <a:pt x="1029528" y="613301"/>
                </a:cubicBezTo>
                <a:cubicBezTo>
                  <a:pt x="1029528" y="608818"/>
                  <a:pt x="1029528" y="604335"/>
                  <a:pt x="1031022" y="598358"/>
                </a:cubicBezTo>
                <a:cubicBezTo>
                  <a:pt x="1032517" y="583416"/>
                  <a:pt x="1032517" y="568474"/>
                  <a:pt x="1032517" y="553531"/>
                </a:cubicBezTo>
                <a:cubicBezTo>
                  <a:pt x="1032517" y="538589"/>
                  <a:pt x="1031022" y="523646"/>
                  <a:pt x="1029528" y="507210"/>
                </a:cubicBezTo>
                <a:cubicBezTo>
                  <a:pt x="1028034" y="492268"/>
                  <a:pt x="1026540" y="478819"/>
                  <a:pt x="1025046" y="462383"/>
                </a:cubicBezTo>
                <a:cubicBezTo>
                  <a:pt x="1023551" y="448935"/>
                  <a:pt x="1022057" y="433992"/>
                  <a:pt x="1019069" y="417556"/>
                </a:cubicBezTo>
                <a:cubicBezTo>
                  <a:pt x="1016080" y="404108"/>
                  <a:pt x="1013092" y="390660"/>
                  <a:pt x="1011597" y="377211"/>
                </a:cubicBezTo>
                <a:lnTo>
                  <a:pt x="1011597" y="374223"/>
                </a:lnTo>
                <a:cubicBezTo>
                  <a:pt x="1008609" y="360775"/>
                  <a:pt x="1004126" y="345832"/>
                  <a:pt x="999644" y="332384"/>
                </a:cubicBezTo>
                <a:cubicBezTo>
                  <a:pt x="998149" y="327902"/>
                  <a:pt x="996655" y="321925"/>
                  <a:pt x="995161" y="317442"/>
                </a:cubicBezTo>
                <a:cubicBezTo>
                  <a:pt x="993667" y="312959"/>
                  <a:pt x="992172" y="308477"/>
                  <a:pt x="990678" y="305488"/>
                </a:cubicBezTo>
                <a:cubicBezTo>
                  <a:pt x="989184" y="302500"/>
                  <a:pt x="989184" y="301005"/>
                  <a:pt x="987690" y="299511"/>
                </a:cubicBezTo>
                <a:cubicBezTo>
                  <a:pt x="984701" y="289052"/>
                  <a:pt x="980218" y="280086"/>
                  <a:pt x="977230" y="268132"/>
                </a:cubicBezTo>
                <a:cubicBezTo>
                  <a:pt x="966770" y="244224"/>
                  <a:pt x="954816" y="221811"/>
                  <a:pt x="941368" y="202386"/>
                </a:cubicBezTo>
                <a:cubicBezTo>
                  <a:pt x="930909" y="185949"/>
                  <a:pt x="918955" y="171007"/>
                  <a:pt x="902518" y="154570"/>
                </a:cubicBezTo>
                <a:cubicBezTo>
                  <a:pt x="883093" y="133651"/>
                  <a:pt x="859185" y="115720"/>
                  <a:pt x="836772" y="99284"/>
                </a:cubicBezTo>
                <a:cubicBezTo>
                  <a:pt x="826312" y="91812"/>
                  <a:pt x="814358" y="84341"/>
                  <a:pt x="803899" y="78364"/>
                </a:cubicBezTo>
                <a:cubicBezTo>
                  <a:pt x="788956" y="69399"/>
                  <a:pt x="775508" y="61928"/>
                  <a:pt x="762060" y="54457"/>
                </a:cubicBezTo>
                <a:cubicBezTo>
                  <a:pt x="747118" y="46985"/>
                  <a:pt x="735164" y="41008"/>
                  <a:pt x="723210" y="33537"/>
                </a:cubicBezTo>
                <a:cubicBezTo>
                  <a:pt x="717233" y="30549"/>
                  <a:pt x="711256" y="27560"/>
                  <a:pt x="705279" y="26066"/>
                </a:cubicBezTo>
                <a:cubicBezTo>
                  <a:pt x="687348" y="18595"/>
                  <a:pt x="669417" y="12618"/>
                  <a:pt x="648498" y="6641"/>
                </a:cubicBezTo>
                <a:cubicBezTo>
                  <a:pt x="636544" y="8135"/>
                  <a:pt x="620108" y="5147"/>
                  <a:pt x="603671" y="2158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04D16E4-4624-4278-B715-67880DA96A00}"/>
              </a:ext>
            </a:extLst>
          </p:cNvPr>
          <p:cNvSpPr/>
          <p:nvPr userDrawn="1"/>
        </p:nvSpPr>
        <p:spPr>
          <a:xfrm>
            <a:off x="7282543" y="2020659"/>
            <a:ext cx="1061311" cy="1001193"/>
          </a:xfrm>
          <a:custGeom>
            <a:avLst/>
            <a:gdLst>
              <a:gd name="connsiteX0" fmla="*/ 835278 w 877116"/>
              <a:gd name="connsiteY0" fmla="*/ 593211 h 827432"/>
              <a:gd name="connsiteX1" fmla="*/ 842749 w 877116"/>
              <a:gd name="connsiteY1" fmla="*/ 575281 h 827432"/>
              <a:gd name="connsiteX2" fmla="*/ 869645 w 877116"/>
              <a:gd name="connsiteY2" fmla="*/ 481144 h 827432"/>
              <a:gd name="connsiteX3" fmla="*/ 877116 w 877116"/>
              <a:gd name="connsiteY3" fmla="*/ 430340 h 827432"/>
              <a:gd name="connsiteX4" fmla="*/ 875622 w 877116"/>
              <a:gd name="connsiteY4" fmla="*/ 373559 h 827432"/>
              <a:gd name="connsiteX5" fmla="*/ 874128 w 877116"/>
              <a:gd name="connsiteY5" fmla="*/ 361605 h 827432"/>
              <a:gd name="connsiteX6" fmla="*/ 868151 w 877116"/>
              <a:gd name="connsiteY6" fmla="*/ 328732 h 827432"/>
              <a:gd name="connsiteX7" fmla="*/ 863668 w 877116"/>
              <a:gd name="connsiteY7" fmla="*/ 319766 h 827432"/>
              <a:gd name="connsiteX8" fmla="*/ 856197 w 877116"/>
              <a:gd name="connsiteY8" fmla="*/ 289882 h 827432"/>
              <a:gd name="connsiteX9" fmla="*/ 856197 w 877116"/>
              <a:gd name="connsiteY9" fmla="*/ 286893 h 827432"/>
              <a:gd name="connsiteX10" fmla="*/ 848726 w 877116"/>
              <a:gd name="connsiteY10" fmla="*/ 254020 h 827432"/>
              <a:gd name="connsiteX11" fmla="*/ 844243 w 877116"/>
              <a:gd name="connsiteY11" fmla="*/ 242066 h 827432"/>
              <a:gd name="connsiteX12" fmla="*/ 842749 w 877116"/>
              <a:gd name="connsiteY12" fmla="*/ 237583 h 827432"/>
              <a:gd name="connsiteX13" fmla="*/ 821829 w 877116"/>
              <a:gd name="connsiteY13" fmla="*/ 195745 h 827432"/>
              <a:gd name="connsiteX14" fmla="*/ 820335 w 877116"/>
              <a:gd name="connsiteY14" fmla="*/ 192756 h 827432"/>
              <a:gd name="connsiteX15" fmla="*/ 781485 w 877116"/>
              <a:gd name="connsiteY15" fmla="*/ 129998 h 827432"/>
              <a:gd name="connsiteX16" fmla="*/ 759072 w 877116"/>
              <a:gd name="connsiteY16" fmla="*/ 101608 h 827432"/>
              <a:gd name="connsiteX17" fmla="*/ 721716 w 877116"/>
              <a:gd name="connsiteY17" fmla="*/ 62758 h 827432"/>
              <a:gd name="connsiteX18" fmla="*/ 684360 w 877116"/>
              <a:gd name="connsiteY18" fmla="*/ 38850 h 827432"/>
              <a:gd name="connsiteX19" fmla="*/ 669417 w 877116"/>
              <a:gd name="connsiteY19" fmla="*/ 31379 h 827432"/>
              <a:gd name="connsiteX20" fmla="*/ 621602 w 877116"/>
              <a:gd name="connsiteY20" fmla="*/ 16437 h 827432"/>
              <a:gd name="connsiteX21" fmla="*/ 555856 w 877116"/>
              <a:gd name="connsiteY21" fmla="*/ 5977 h 827432"/>
              <a:gd name="connsiteX22" fmla="*/ 499075 w 877116"/>
              <a:gd name="connsiteY22" fmla="*/ 1494 h 827432"/>
              <a:gd name="connsiteX23" fmla="*/ 470684 w 877116"/>
              <a:gd name="connsiteY23" fmla="*/ 0 h 827432"/>
              <a:gd name="connsiteX24" fmla="*/ 397467 w 877116"/>
              <a:gd name="connsiteY24" fmla="*/ 4483 h 827432"/>
              <a:gd name="connsiteX25" fmla="*/ 340686 w 877116"/>
              <a:gd name="connsiteY25" fmla="*/ 14942 h 827432"/>
              <a:gd name="connsiteX26" fmla="*/ 328732 w 877116"/>
              <a:gd name="connsiteY26" fmla="*/ 17931 h 827432"/>
              <a:gd name="connsiteX27" fmla="*/ 251032 w 877116"/>
              <a:gd name="connsiteY27" fmla="*/ 40344 h 827432"/>
              <a:gd name="connsiteX28" fmla="*/ 251032 w 877116"/>
              <a:gd name="connsiteY28" fmla="*/ 41839 h 827432"/>
              <a:gd name="connsiteX29" fmla="*/ 227124 w 877116"/>
              <a:gd name="connsiteY29" fmla="*/ 50804 h 827432"/>
              <a:gd name="connsiteX30" fmla="*/ 218158 w 877116"/>
              <a:gd name="connsiteY30" fmla="*/ 55287 h 827432"/>
              <a:gd name="connsiteX31" fmla="*/ 165860 w 877116"/>
              <a:gd name="connsiteY31" fmla="*/ 83677 h 827432"/>
              <a:gd name="connsiteX32" fmla="*/ 131493 w 877116"/>
              <a:gd name="connsiteY32" fmla="*/ 112068 h 827432"/>
              <a:gd name="connsiteX33" fmla="*/ 92643 w 877116"/>
              <a:gd name="connsiteY33" fmla="*/ 159883 h 827432"/>
              <a:gd name="connsiteX34" fmla="*/ 89654 w 877116"/>
              <a:gd name="connsiteY34" fmla="*/ 162872 h 827432"/>
              <a:gd name="connsiteX35" fmla="*/ 64252 w 877116"/>
              <a:gd name="connsiteY35" fmla="*/ 197239 h 827432"/>
              <a:gd name="connsiteX36" fmla="*/ 34367 w 877116"/>
              <a:gd name="connsiteY36" fmla="*/ 255514 h 827432"/>
              <a:gd name="connsiteX37" fmla="*/ 25402 w 877116"/>
              <a:gd name="connsiteY37" fmla="*/ 279422 h 827432"/>
              <a:gd name="connsiteX38" fmla="*/ 23908 w 877116"/>
              <a:gd name="connsiteY38" fmla="*/ 285399 h 827432"/>
              <a:gd name="connsiteX39" fmla="*/ 16437 w 877116"/>
              <a:gd name="connsiteY39" fmla="*/ 307813 h 827432"/>
              <a:gd name="connsiteX40" fmla="*/ 14942 w 877116"/>
              <a:gd name="connsiteY40" fmla="*/ 310801 h 827432"/>
              <a:gd name="connsiteX41" fmla="*/ 8965 w 877116"/>
              <a:gd name="connsiteY41" fmla="*/ 334709 h 827432"/>
              <a:gd name="connsiteX42" fmla="*/ 7471 w 877116"/>
              <a:gd name="connsiteY42" fmla="*/ 340686 h 827432"/>
              <a:gd name="connsiteX43" fmla="*/ 2988 w 877116"/>
              <a:gd name="connsiteY43" fmla="*/ 366088 h 827432"/>
              <a:gd name="connsiteX44" fmla="*/ 0 w 877116"/>
              <a:gd name="connsiteY44" fmla="*/ 415397 h 827432"/>
              <a:gd name="connsiteX45" fmla="*/ 2988 w 877116"/>
              <a:gd name="connsiteY45" fmla="*/ 475167 h 827432"/>
              <a:gd name="connsiteX46" fmla="*/ 4483 w 877116"/>
              <a:gd name="connsiteY46" fmla="*/ 482638 h 827432"/>
              <a:gd name="connsiteX47" fmla="*/ 19425 w 877116"/>
              <a:gd name="connsiteY47" fmla="*/ 546890 h 827432"/>
              <a:gd name="connsiteX48" fmla="*/ 40344 w 877116"/>
              <a:gd name="connsiteY48" fmla="*/ 599188 h 827432"/>
              <a:gd name="connsiteX49" fmla="*/ 70229 w 877116"/>
              <a:gd name="connsiteY49" fmla="*/ 651487 h 827432"/>
              <a:gd name="connsiteX50" fmla="*/ 110573 w 877116"/>
              <a:gd name="connsiteY50" fmla="*/ 699302 h 827432"/>
              <a:gd name="connsiteX51" fmla="*/ 159883 w 877116"/>
              <a:gd name="connsiteY51" fmla="*/ 736658 h 827432"/>
              <a:gd name="connsiteX52" fmla="*/ 189768 w 877116"/>
              <a:gd name="connsiteY52" fmla="*/ 754589 h 827432"/>
              <a:gd name="connsiteX53" fmla="*/ 225630 w 877116"/>
              <a:gd name="connsiteY53" fmla="*/ 774014 h 827432"/>
              <a:gd name="connsiteX54" fmla="*/ 239078 w 877116"/>
              <a:gd name="connsiteY54" fmla="*/ 779991 h 827432"/>
              <a:gd name="connsiteX55" fmla="*/ 245055 w 877116"/>
              <a:gd name="connsiteY55" fmla="*/ 782979 h 827432"/>
              <a:gd name="connsiteX56" fmla="*/ 257009 w 877116"/>
              <a:gd name="connsiteY56" fmla="*/ 787462 h 827432"/>
              <a:gd name="connsiteX57" fmla="*/ 268962 w 877116"/>
              <a:gd name="connsiteY57" fmla="*/ 791945 h 827432"/>
              <a:gd name="connsiteX58" fmla="*/ 303330 w 877116"/>
              <a:gd name="connsiteY58" fmla="*/ 803899 h 827432"/>
              <a:gd name="connsiteX59" fmla="*/ 340686 w 877116"/>
              <a:gd name="connsiteY59" fmla="*/ 812864 h 827432"/>
              <a:gd name="connsiteX60" fmla="*/ 376547 w 877116"/>
              <a:gd name="connsiteY60" fmla="*/ 818841 h 827432"/>
              <a:gd name="connsiteX61" fmla="*/ 412409 w 877116"/>
              <a:gd name="connsiteY61" fmla="*/ 823324 h 827432"/>
              <a:gd name="connsiteX62" fmla="*/ 445282 w 877116"/>
              <a:gd name="connsiteY62" fmla="*/ 826312 h 827432"/>
              <a:gd name="connsiteX63" fmla="*/ 448271 w 877116"/>
              <a:gd name="connsiteY63" fmla="*/ 826312 h 827432"/>
              <a:gd name="connsiteX64" fmla="*/ 484132 w 877116"/>
              <a:gd name="connsiteY64" fmla="*/ 826312 h 827432"/>
              <a:gd name="connsiteX65" fmla="*/ 497580 w 877116"/>
              <a:gd name="connsiteY65" fmla="*/ 826312 h 827432"/>
              <a:gd name="connsiteX66" fmla="*/ 508040 w 877116"/>
              <a:gd name="connsiteY66" fmla="*/ 826312 h 827432"/>
              <a:gd name="connsiteX67" fmla="*/ 512523 w 877116"/>
              <a:gd name="connsiteY67" fmla="*/ 826312 h 827432"/>
              <a:gd name="connsiteX68" fmla="*/ 539419 w 877116"/>
              <a:gd name="connsiteY68" fmla="*/ 824818 h 827432"/>
              <a:gd name="connsiteX69" fmla="*/ 599188 w 877116"/>
              <a:gd name="connsiteY69" fmla="*/ 811370 h 827432"/>
              <a:gd name="connsiteX70" fmla="*/ 645510 w 877116"/>
              <a:gd name="connsiteY70" fmla="*/ 791945 h 827432"/>
              <a:gd name="connsiteX71" fmla="*/ 703785 w 877116"/>
              <a:gd name="connsiteY71" fmla="*/ 753095 h 827432"/>
              <a:gd name="connsiteX72" fmla="*/ 727693 w 877116"/>
              <a:gd name="connsiteY72" fmla="*/ 732175 h 827432"/>
              <a:gd name="connsiteX73" fmla="*/ 756083 w 877116"/>
              <a:gd name="connsiteY73" fmla="*/ 705279 h 827432"/>
              <a:gd name="connsiteX74" fmla="*/ 781485 w 877116"/>
              <a:gd name="connsiteY74" fmla="*/ 679877 h 827432"/>
              <a:gd name="connsiteX75" fmla="*/ 791945 w 877116"/>
              <a:gd name="connsiteY75" fmla="*/ 667923 h 827432"/>
              <a:gd name="connsiteX76" fmla="*/ 820335 w 877116"/>
              <a:gd name="connsiteY76" fmla="*/ 629073 h 827432"/>
              <a:gd name="connsiteX77" fmla="*/ 835278 w 877116"/>
              <a:gd name="connsiteY77" fmla="*/ 593211 h 8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877116" h="827432">
                <a:moveTo>
                  <a:pt x="835278" y="593211"/>
                </a:moveTo>
                <a:cubicBezTo>
                  <a:pt x="838266" y="587235"/>
                  <a:pt x="839760" y="579763"/>
                  <a:pt x="842749" y="575281"/>
                </a:cubicBezTo>
                <a:cubicBezTo>
                  <a:pt x="851714" y="548384"/>
                  <a:pt x="859185" y="518500"/>
                  <a:pt x="869645" y="481144"/>
                </a:cubicBezTo>
                <a:cubicBezTo>
                  <a:pt x="874128" y="464707"/>
                  <a:pt x="875622" y="448271"/>
                  <a:pt x="877116" y="430340"/>
                </a:cubicBezTo>
                <a:cubicBezTo>
                  <a:pt x="877116" y="409420"/>
                  <a:pt x="877116" y="391490"/>
                  <a:pt x="875622" y="373559"/>
                </a:cubicBezTo>
                <a:cubicBezTo>
                  <a:pt x="875622" y="369076"/>
                  <a:pt x="874128" y="366088"/>
                  <a:pt x="874128" y="361605"/>
                </a:cubicBezTo>
                <a:cubicBezTo>
                  <a:pt x="872633" y="349651"/>
                  <a:pt x="869645" y="339191"/>
                  <a:pt x="868151" y="328732"/>
                </a:cubicBezTo>
                <a:lnTo>
                  <a:pt x="863668" y="319766"/>
                </a:lnTo>
                <a:cubicBezTo>
                  <a:pt x="860680" y="307813"/>
                  <a:pt x="859185" y="298847"/>
                  <a:pt x="856197" y="289882"/>
                </a:cubicBezTo>
                <a:cubicBezTo>
                  <a:pt x="856197" y="288387"/>
                  <a:pt x="856197" y="288387"/>
                  <a:pt x="856197" y="286893"/>
                </a:cubicBezTo>
                <a:cubicBezTo>
                  <a:pt x="853208" y="274939"/>
                  <a:pt x="850220" y="264480"/>
                  <a:pt x="848726" y="254020"/>
                </a:cubicBezTo>
                <a:cubicBezTo>
                  <a:pt x="847232" y="249537"/>
                  <a:pt x="845737" y="245055"/>
                  <a:pt x="844243" y="242066"/>
                </a:cubicBezTo>
                <a:lnTo>
                  <a:pt x="842749" y="237583"/>
                </a:lnTo>
                <a:cubicBezTo>
                  <a:pt x="836772" y="222641"/>
                  <a:pt x="830795" y="209193"/>
                  <a:pt x="821829" y="195745"/>
                </a:cubicBezTo>
                <a:lnTo>
                  <a:pt x="820335" y="192756"/>
                </a:lnTo>
                <a:cubicBezTo>
                  <a:pt x="808381" y="170343"/>
                  <a:pt x="794933" y="149424"/>
                  <a:pt x="781485" y="129998"/>
                </a:cubicBezTo>
                <a:cubicBezTo>
                  <a:pt x="774014" y="119539"/>
                  <a:pt x="766543" y="110573"/>
                  <a:pt x="759072" y="101608"/>
                </a:cubicBezTo>
                <a:cubicBezTo>
                  <a:pt x="748612" y="89654"/>
                  <a:pt x="736658" y="74712"/>
                  <a:pt x="721716" y="62758"/>
                </a:cubicBezTo>
                <a:cubicBezTo>
                  <a:pt x="711256" y="53792"/>
                  <a:pt x="699302" y="46321"/>
                  <a:pt x="684360" y="38850"/>
                </a:cubicBezTo>
                <a:cubicBezTo>
                  <a:pt x="679877" y="35862"/>
                  <a:pt x="673900" y="34367"/>
                  <a:pt x="669417" y="31379"/>
                </a:cubicBezTo>
                <a:cubicBezTo>
                  <a:pt x="652981" y="25402"/>
                  <a:pt x="636544" y="20919"/>
                  <a:pt x="621602" y="16437"/>
                </a:cubicBezTo>
                <a:cubicBezTo>
                  <a:pt x="599188" y="10460"/>
                  <a:pt x="576775" y="7471"/>
                  <a:pt x="555856" y="5977"/>
                </a:cubicBezTo>
                <a:cubicBezTo>
                  <a:pt x="537925" y="4483"/>
                  <a:pt x="518500" y="1494"/>
                  <a:pt x="499075" y="1494"/>
                </a:cubicBezTo>
                <a:cubicBezTo>
                  <a:pt x="490109" y="0"/>
                  <a:pt x="479650" y="0"/>
                  <a:pt x="470684" y="0"/>
                </a:cubicBezTo>
                <a:cubicBezTo>
                  <a:pt x="448271" y="0"/>
                  <a:pt x="424363" y="1494"/>
                  <a:pt x="397467" y="4483"/>
                </a:cubicBezTo>
                <a:cubicBezTo>
                  <a:pt x="379536" y="7471"/>
                  <a:pt x="360111" y="11954"/>
                  <a:pt x="340686" y="14942"/>
                </a:cubicBezTo>
                <a:cubicBezTo>
                  <a:pt x="336203" y="16437"/>
                  <a:pt x="333215" y="16437"/>
                  <a:pt x="328732" y="17931"/>
                </a:cubicBezTo>
                <a:cubicBezTo>
                  <a:pt x="300341" y="23908"/>
                  <a:pt x="274939" y="31379"/>
                  <a:pt x="251032" y="40344"/>
                </a:cubicBezTo>
                <a:lnTo>
                  <a:pt x="251032" y="41839"/>
                </a:lnTo>
                <a:cubicBezTo>
                  <a:pt x="243560" y="44827"/>
                  <a:pt x="236089" y="47816"/>
                  <a:pt x="227124" y="50804"/>
                </a:cubicBezTo>
                <a:cubicBezTo>
                  <a:pt x="224135" y="52298"/>
                  <a:pt x="221147" y="53792"/>
                  <a:pt x="218158" y="55287"/>
                </a:cubicBezTo>
                <a:cubicBezTo>
                  <a:pt x="200228" y="64252"/>
                  <a:pt x="182297" y="73218"/>
                  <a:pt x="165860" y="83677"/>
                </a:cubicBezTo>
                <a:cubicBezTo>
                  <a:pt x="155400" y="89654"/>
                  <a:pt x="143447" y="100114"/>
                  <a:pt x="131493" y="112068"/>
                </a:cubicBezTo>
                <a:cubicBezTo>
                  <a:pt x="115056" y="128504"/>
                  <a:pt x="103102" y="143447"/>
                  <a:pt x="92643" y="159883"/>
                </a:cubicBezTo>
                <a:cubicBezTo>
                  <a:pt x="92643" y="161377"/>
                  <a:pt x="91148" y="162872"/>
                  <a:pt x="89654" y="162872"/>
                </a:cubicBezTo>
                <a:cubicBezTo>
                  <a:pt x="79194" y="174826"/>
                  <a:pt x="70229" y="185285"/>
                  <a:pt x="64252" y="197239"/>
                </a:cubicBezTo>
                <a:cubicBezTo>
                  <a:pt x="53792" y="215170"/>
                  <a:pt x="44827" y="234595"/>
                  <a:pt x="34367" y="255514"/>
                </a:cubicBezTo>
                <a:cubicBezTo>
                  <a:pt x="31379" y="262985"/>
                  <a:pt x="28390" y="271951"/>
                  <a:pt x="25402" y="279422"/>
                </a:cubicBezTo>
                <a:cubicBezTo>
                  <a:pt x="25402" y="282410"/>
                  <a:pt x="23908" y="283905"/>
                  <a:pt x="23908" y="285399"/>
                </a:cubicBezTo>
                <a:cubicBezTo>
                  <a:pt x="22414" y="292870"/>
                  <a:pt x="19425" y="300341"/>
                  <a:pt x="16437" y="307813"/>
                </a:cubicBezTo>
                <a:cubicBezTo>
                  <a:pt x="16437" y="309307"/>
                  <a:pt x="16437" y="310801"/>
                  <a:pt x="14942" y="310801"/>
                </a:cubicBezTo>
                <a:cubicBezTo>
                  <a:pt x="13448" y="318272"/>
                  <a:pt x="10460" y="327238"/>
                  <a:pt x="8965" y="334709"/>
                </a:cubicBezTo>
                <a:cubicBezTo>
                  <a:pt x="8965" y="336203"/>
                  <a:pt x="7471" y="339191"/>
                  <a:pt x="7471" y="340686"/>
                </a:cubicBezTo>
                <a:cubicBezTo>
                  <a:pt x="5977" y="349651"/>
                  <a:pt x="4483" y="357122"/>
                  <a:pt x="2988" y="366088"/>
                </a:cubicBezTo>
                <a:cubicBezTo>
                  <a:pt x="0" y="382524"/>
                  <a:pt x="0" y="397467"/>
                  <a:pt x="0" y="415397"/>
                </a:cubicBezTo>
                <a:cubicBezTo>
                  <a:pt x="0" y="431834"/>
                  <a:pt x="0" y="452753"/>
                  <a:pt x="2988" y="475167"/>
                </a:cubicBezTo>
                <a:cubicBezTo>
                  <a:pt x="2988" y="478155"/>
                  <a:pt x="2988" y="479650"/>
                  <a:pt x="4483" y="482638"/>
                </a:cubicBezTo>
                <a:cubicBezTo>
                  <a:pt x="7471" y="506546"/>
                  <a:pt x="13448" y="528959"/>
                  <a:pt x="19425" y="546890"/>
                </a:cubicBezTo>
                <a:cubicBezTo>
                  <a:pt x="25402" y="564821"/>
                  <a:pt x="31379" y="581258"/>
                  <a:pt x="40344" y="599188"/>
                </a:cubicBezTo>
                <a:cubicBezTo>
                  <a:pt x="50804" y="620108"/>
                  <a:pt x="59769" y="636544"/>
                  <a:pt x="70229" y="651487"/>
                </a:cubicBezTo>
                <a:cubicBezTo>
                  <a:pt x="82183" y="667923"/>
                  <a:pt x="95631" y="684360"/>
                  <a:pt x="110573" y="699302"/>
                </a:cubicBezTo>
                <a:cubicBezTo>
                  <a:pt x="125516" y="714245"/>
                  <a:pt x="143447" y="726198"/>
                  <a:pt x="159883" y="736658"/>
                </a:cubicBezTo>
                <a:cubicBezTo>
                  <a:pt x="168849" y="742635"/>
                  <a:pt x="177814" y="748612"/>
                  <a:pt x="189768" y="754589"/>
                </a:cubicBezTo>
                <a:cubicBezTo>
                  <a:pt x="200228" y="759072"/>
                  <a:pt x="212181" y="766543"/>
                  <a:pt x="225630" y="774014"/>
                </a:cubicBezTo>
                <a:cubicBezTo>
                  <a:pt x="230112" y="775508"/>
                  <a:pt x="234595" y="777002"/>
                  <a:pt x="239078" y="779991"/>
                </a:cubicBezTo>
                <a:cubicBezTo>
                  <a:pt x="240572" y="779991"/>
                  <a:pt x="243560" y="781485"/>
                  <a:pt x="245055" y="782979"/>
                </a:cubicBezTo>
                <a:cubicBezTo>
                  <a:pt x="249537" y="784474"/>
                  <a:pt x="252526" y="787462"/>
                  <a:pt x="257009" y="787462"/>
                </a:cubicBezTo>
                <a:cubicBezTo>
                  <a:pt x="259997" y="788956"/>
                  <a:pt x="264480" y="788956"/>
                  <a:pt x="268962" y="791945"/>
                </a:cubicBezTo>
                <a:cubicBezTo>
                  <a:pt x="280916" y="796427"/>
                  <a:pt x="291376" y="799416"/>
                  <a:pt x="303330" y="803899"/>
                </a:cubicBezTo>
                <a:cubicBezTo>
                  <a:pt x="315284" y="806887"/>
                  <a:pt x="327238" y="809876"/>
                  <a:pt x="340686" y="812864"/>
                </a:cubicBezTo>
                <a:cubicBezTo>
                  <a:pt x="352640" y="815853"/>
                  <a:pt x="364593" y="817347"/>
                  <a:pt x="376547" y="818841"/>
                </a:cubicBezTo>
                <a:cubicBezTo>
                  <a:pt x="387007" y="820335"/>
                  <a:pt x="398961" y="821829"/>
                  <a:pt x="412409" y="823324"/>
                </a:cubicBezTo>
                <a:cubicBezTo>
                  <a:pt x="422869" y="824818"/>
                  <a:pt x="434823" y="824818"/>
                  <a:pt x="445282" y="826312"/>
                </a:cubicBezTo>
                <a:lnTo>
                  <a:pt x="448271" y="826312"/>
                </a:lnTo>
                <a:cubicBezTo>
                  <a:pt x="460225" y="827806"/>
                  <a:pt x="472178" y="827806"/>
                  <a:pt x="484132" y="826312"/>
                </a:cubicBezTo>
                <a:cubicBezTo>
                  <a:pt x="488615" y="826312"/>
                  <a:pt x="493098" y="826312"/>
                  <a:pt x="497580" y="826312"/>
                </a:cubicBezTo>
                <a:cubicBezTo>
                  <a:pt x="500569" y="826312"/>
                  <a:pt x="505052" y="826312"/>
                  <a:pt x="508040" y="826312"/>
                </a:cubicBezTo>
                <a:cubicBezTo>
                  <a:pt x="509534" y="826312"/>
                  <a:pt x="511029" y="826312"/>
                  <a:pt x="512523" y="826312"/>
                </a:cubicBezTo>
                <a:cubicBezTo>
                  <a:pt x="521488" y="826312"/>
                  <a:pt x="528959" y="824818"/>
                  <a:pt x="539419" y="824818"/>
                </a:cubicBezTo>
                <a:cubicBezTo>
                  <a:pt x="560338" y="821829"/>
                  <a:pt x="581258" y="817347"/>
                  <a:pt x="599188" y="811370"/>
                </a:cubicBezTo>
                <a:cubicBezTo>
                  <a:pt x="614131" y="806887"/>
                  <a:pt x="629073" y="800910"/>
                  <a:pt x="645510" y="791945"/>
                </a:cubicBezTo>
                <a:cubicBezTo>
                  <a:pt x="666429" y="781485"/>
                  <a:pt x="685854" y="766543"/>
                  <a:pt x="703785" y="753095"/>
                </a:cubicBezTo>
                <a:cubicBezTo>
                  <a:pt x="712750" y="747118"/>
                  <a:pt x="720222" y="739647"/>
                  <a:pt x="727693" y="732175"/>
                </a:cubicBezTo>
                <a:cubicBezTo>
                  <a:pt x="738152" y="723210"/>
                  <a:pt x="747118" y="714245"/>
                  <a:pt x="756083" y="705279"/>
                </a:cubicBezTo>
                <a:cubicBezTo>
                  <a:pt x="765049" y="696314"/>
                  <a:pt x="774014" y="687348"/>
                  <a:pt x="781485" y="679877"/>
                </a:cubicBezTo>
                <a:cubicBezTo>
                  <a:pt x="785968" y="675394"/>
                  <a:pt x="788956" y="672406"/>
                  <a:pt x="791945" y="667923"/>
                </a:cubicBezTo>
                <a:cubicBezTo>
                  <a:pt x="802404" y="655969"/>
                  <a:pt x="811370" y="642521"/>
                  <a:pt x="820335" y="629073"/>
                </a:cubicBezTo>
                <a:cubicBezTo>
                  <a:pt x="821829" y="617119"/>
                  <a:pt x="829301" y="605165"/>
                  <a:pt x="835278" y="593211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D35F429-8BCA-4411-8719-5FFABD82F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6905CEB-E1ED-4EAB-8BA5-F7164DB8FB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395DB12-BB4C-29B6-5212-DB21BB4CFB9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63951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rId2" action="ppaction://hlinksldjump"/>
            <a:extLst>
              <a:ext uri="{FF2B5EF4-FFF2-40B4-BE49-F238E27FC236}">
                <a16:creationId xmlns:a16="http://schemas.microsoft.com/office/drawing/2014/main" id="{B0F5F316-B60A-0947-854D-8849CA1E19CF}"/>
              </a:ext>
            </a:extLst>
          </p:cNvPr>
          <p:cNvSpPr/>
          <p:nvPr userDrawn="1"/>
        </p:nvSpPr>
        <p:spPr>
          <a:xfrm>
            <a:off x="1" y="3"/>
            <a:ext cx="5034254" cy="8229598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89469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8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</a:endParaRPr>
          </a:p>
        </p:txBody>
      </p:sp>
      <p:sp>
        <p:nvSpPr>
          <p:cNvPr id="42" name="Title 9">
            <a:extLst>
              <a:ext uri="{FF2B5EF4-FFF2-40B4-BE49-F238E27FC236}">
                <a16:creationId xmlns:a16="http://schemas.microsoft.com/office/drawing/2014/main" id="{FF542652-F6F5-0E47-96C0-9CDE9CEE12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928" y="2002976"/>
            <a:ext cx="3473754" cy="1965390"/>
          </a:xfrm>
        </p:spPr>
        <p:txBody>
          <a:bodyPr anchor="t"/>
          <a:lstStyle>
            <a:lvl1pPr>
              <a:defRPr sz="3600" b="0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ext Styles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D01C10BF-070F-E04E-B8AD-8A6AB4267D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3928" y="4288011"/>
            <a:ext cx="3472870" cy="1784728"/>
          </a:xfrm>
        </p:spPr>
        <p:txBody>
          <a:bodyPr/>
          <a:lstStyle>
            <a:lvl1pPr marL="0" indent="0">
              <a:buNone/>
              <a:defRPr sz="1920" b="0" i="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5">
            <a:extLst>
              <a:ext uri="{FF2B5EF4-FFF2-40B4-BE49-F238E27FC236}">
                <a16:creationId xmlns:a16="http://schemas.microsoft.com/office/drawing/2014/main" id="{C9909625-C924-5C4B-A25A-965AEF0D613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35999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85885235-5F03-9F44-BC12-000C4288B00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0595478" y="3303639"/>
            <a:ext cx="3160644" cy="3598133"/>
          </a:xfrm>
        </p:spPr>
        <p:txBody>
          <a:bodyPr/>
          <a:lstStyle>
            <a:lvl1pPr marL="0" indent="0" algn="ctr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 algn="ctr">
              <a:spcBef>
                <a:spcPts val="600"/>
              </a:spcBef>
              <a:spcAft>
                <a:spcPts val="600"/>
              </a:spcAft>
              <a:defRPr sz="2000" b="0" i="0"/>
            </a:lvl2pPr>
            <a:lvl3pPr algn="ctr"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D28BC2E-F3FD-47B7-A99A-D8F2E5977D3A}"/>
              </a:ext>
            </a:extLst>
          </p:cNvPr>
          <p:cNvSpPr/>
          <p:nvPr userDrawn="1"/>
        </p:nvSpPr>
        <p:spPr>
          <a:xfrm>
            <a:off x="11639347" y="1991217"/>
            <a:ext cx="1032516" cy="1060076"/>
          </a:xfrm>
          <a:custGeom>
            <a:avLst/>
            <a:gdLst>
              <a:gd name="connsiteX0" fmla="*/ 603671 w 1032516"/>
              <a:gd name="connsiteY0" fmla="*/ 2158 h 1060076"/>
              <a:gd name="connsiteX1" fmla="*/ 579763 w 1032516"/>
              <a:gd name="connsiteY1" fmla="*/ 664 h 1060076"/>
              <a:gd name="connsiteX2" fmla="*/ 458730 w 1032516"/>
              <a:gd name="connsiteY2" fmla="*/ 664 h 1060076"/>
              <a:gd name="connsiteX3" fmla="*/ 395972 w 1032516"/>
              <a:gd name="connsiteY3" fmla="*/ 9629 h 1060076"/>
              <a:gd name="connsiteX4" fmla="*/ 330226 w 1032516"/>
              <a:gd name="connsiteY4" fmla="*/ 32043 h 1060076"/>
              <a:gd name="connsiteX5" fmla="*/ 316778 w 1032516"/>
              <a:gd name="connsiteY5" fmla="*/ 38020 h 1060076"/>
              <a:gd name="connsiteX6" fmla="*/ 279422 w 1032516"/>
              <a:gd name="connsiteY6" fmla="*/ 57445 h 1060076"/>
              <a:gd name="connsiteX7" fmla="*/ 271951 w 1032516"/>
              <a:gd name="connsiteY7" fmla="*/ 61928 h 1060076"/>
              <a:gd name="connsiteX8" fmla="*/ 239078 w 1032516"/>
              <a:gd name="connsiteY8" fmla="*/ 81353 h 1060076"/>
              <a:gd name="connsiteX9" fmla="*/ 236089 w 1032516"/>
              <a:gd name="connsiteY9" fmla="*/ 82847 h 1060076"/>
              <a:gd name="connsiteX10" fmla="*/ 200228 w 1032516"/>
              <a:gd name="connsiteY10" fmla="*/ 103766 h 1060076"/>
              <a:gd name="connsiteX11" fmla="*/ 186779 w 1032516"/>
              <a:gd name="connsiteY11" fmla="*/ 112732 h 1060076"/>
              <a:gd name="connsiteX12" fmla="*/ 182297 w 1032516"/>
              <a:gd name="connsiteY12" fmla="*/ 115720 h 1060076"/>
              <a:gd name="connsiteX13" fmla="*/ 140458 w 1032516"/>
              <a:gd name="connsiteY13" fmla="*/ 154570 h 1060076"/>
              <a:gd name="connsiteX14" fmla="*/ 137470 w 1032516"/>
              <a:gd name="connsiteY14" fmla="*/ 157559 h 1060076"/>
              <a:gd name="connsiteX15" fmla="*/ 77700 w 1032516"/>
              <a:gd name="connsiteY15" fmla="*/ 224799 h 1060076"/>
              <a:gd name="connsiteX16" fmla="*/ 52298 w 1032516"/>
              <a:gd name="connsiteY16" fmla="*/ 259167 h 1060076"/>
              <a:gd name="connsiteX17" fmla="*/ 19425 w 1032516"/>
              <a:gd name="connsiteY17" fmla="*/ 315948 h 1060076"/>
              <a:gd name="connsiteX18" fmla="*/ 4483 w 1032516"/>
              <a:gd name="connsiteY18" fmla="*/ 368246 h 1060076"/>
              <a:gd name="connsiteX19" fmla="*/ 1494 w 1032516"/>
              <a:gd name="connsiteY19" fmla="*/ 387671 h 1060076"/>
              <a:gd name="connsiteX20" fmla="*/ 0 w 1032516"/>
              <a:gd name="connsiteY20" fmla="*/ 451923 h 1060076"/>
              <a:gd name="connsiteX21" fmla="*/ 8965 w 1032516"/>
              <a:gd name="connsiteY21" fmla="*/ 532612 h 1060076"/>
              <a:gd name="connsiteX22" fmla="*/ 22414 w 1032516"/>
              <a:gd name="connsiteY22" fmla="*/ 601347 h 1060076"/>
              <a:gd name="connsiteX23" fmla="*/ 31379 w 1032516"/>
              <a:gd name="connsiteY23" fmla="*/ 635714 h 1060076"/>
              <a:gd name="connsiteX24" fmla="*/ 62758 w 1032516"/>
              <a:gd name="connsiteY24" fmla="*/ 719391 h 1060076"/>
              <a:gd name="connsiteX25" fmla="*/ 94137 w 1032516"/>
              <a:gd name="connsiteY25" fmla="*/ 782149 h 1060076"/>
              <a:gd name="connsiteX26" fmla="*/ 101608 w 1032516"/>
              <a:gd name="connsiteY26" fmla="*/ 795597 h 1060076"/>
              <a:gd name="connsiteX27" fmla="*/ 153906 w 1032516"/>
              <a:gd name="connsiteY27" fmla="*/ 879275 h 1060076"/>
              <a:gd name="connsiteX28" fmla="*/ 155400 w 1032516"/>
              <a:gd name="connsiteY28" fmla="*/ 880769 h 1060076"/>
              <a:gd name="connsiteX29" fmla="*/ 173331 w 1032516"/>
              <a:gd name="connsiteY29" fmla="*/ 904676 h 1060076"/>
              <a:gd name="connsiteX30" fmla="*/ 180802 w 1032516"/>
              <a:gd name="connsiteY30" fmla="*/ 913642 h 1060076"/>
              <a:gd name="connsiteX31" fmla="*/ 233101 w 1032516"/>
              <a:gd name="connsiteY31" fmla="*/ 965940 h 1060076"/>
              <a:gd name="connsiteX32" fmla="*/ 277928 w 1032516"/>
              <a:gd name="connsiteY32" fmla="*/ 995825 h 1060076"/>
              <a:gd name="connsiteX33" fmla="*/ 348157 w 1032516"/>
              <a:gd name="connsiteY33" fmla="*/ 1025710 h 1060076"/>
              <a:gd name="connsiteX34" fmla="*/ 352640 w 1032516"/>
              <a:gd name="connsiteY34" fmla="*/ 1027204 h 1060076"/>
              <a:gd name="connsiteX35" fmla="*/ 401949 w 1032516"/>
              <a:gd name="connsiteY35" fmla="*/ 1045135 h 1060076"/>
              <a:gd name="connsiteX36" fmla="*/ 481144 w 1032516"/>
              <a:gd name="connsiteY36" fmla="*/ 1058583 h 1060076"/>
              <a:gd name="connsiteX37" fmla="*/ 512523 w 1032516"/>
              <a:gd name="connsiteY37" fmla="*/ 1060077 h 1060076"/>
              <a:gd name="connsiteX38" fmla="*/ 521488 w 1032516"/>
              <a:gd name="connsiteY38" fmla="*/ 1060077 h 1060076"/>
              <a:gd name="connsiteX39" fmla="*/ 549879 w 1032516"/>
              <a:gd name="connsiteY39" fmla="*/ 1060077 h 1060076"/>
              <a:gd name="connsiteX40" fmla="*/ 554361 w 1032516"/>
              <a:gd name="connsiteY40" fmla="*/ 1060077 h 1060076"/>
              <a:gd name="connsiteX41" fmla="*/ 585740 w 1032516"/>
              <a:gd name="connsiteY41" fmla="*/ 1058583 h 1060076"/>
              <a:gd name="connsiteX42" fmla="*/ 593212 w 1032516"/>
              <a:gd name="connsiteY42" fmla="*/ 1058583 h 1060076"/>
              <a:gd name="connsiteX43" fmla="*/ 624590 w 1032516"/>
              <a:gd name="connsiteY43" fmla="*/ 1055594 h 1060076"/>
              <a:gd name="connsiteX44" fmla="*/ 684360 w 1032516"/>
              <a:gd name="connsiteY44" fmla="*/ 1043640 h 1060076"/>
              <a:gd name="connsiteX45" fmla="*/ 753095 w 1032516"/>
              <a:gd name="connsiteY45" fmla="*/ 1019733 h 1060076"/>
              <a:gd name="connsiteX46" fmla="*/ 760566 w 1032516"/>
              <a:gd name="connsiteY46" fmla="*/ 1016744 h 1060076"/>
              <a:gd name="connsiteX47" fmla="*/ 830795 w 1032516"/>
              <a:gd name="connsiteY47" fmla="*/ 977894 h 1060076"/>
              <a:gd name="connsiteX48" fmla="*/ 884587 w 1032516"/>
              <a:gd name="connsiteY48" fmla="*/ 934561 h 1060076"/>
              <a:gd name="connsiteX49" fmla="*/ 935391 w 1032516"/>
              <a:gd name="connsiteY49" fmla="*/ 880769 h 1060076"/>
              <a:gd name="connsiteX50" fmla="*/ 977230 w 1032516"/>
              <a:gd name="connsiteY50" fmla="*/ 816517 h 1060076"/>
              <a:gd name="connsiteX51" fmla="*/ 1004126 w 1032516"/>
              <a:gd name="connsiteY51" fmla="*/ 746288 h 1060076"/>
              <a:gd name="connsiteX52" fmla="*/ 1014586 w 1032516"/>
              <a:gd name="connsiteY52" fmla="*/ 704449 h 1060076"/>
              <a:gd name="connsiteX53" fmla="*/ 1023551 w 1032516"/>
              <a:gd name="connsiteY53" fmla="*/ 655139 h 1060076"/>
              <a:gd name="connsiteX54" fmla="*/ 1026540 w 1032516"/>
              <a:gd name="connsiteY54" fmla="*/ 637208 h 1060076"/>
              <a:gd name="connsiteX55" fmla="*/ 1028034 w 1032516"/>
              <a:gd name="connsiteY55" fmla="*/ 629737 h 1060076"/>
              <a:gd name="connsiteX56" fmla="*/ 1029528 w 1032516"/>
              <a:gd name="connsiteY56" fmla="*/ 613301 h 1060076"/>
              <a:gd name="connsiteX57" fmla="*/ 1031022 w 1032516"/>
              <a:gd name="connsiteY57" fmla="*/ 598358 h 1060076"/>
              <a:gd name="connsiteX58" fmla="*/ 1032517 w 1032516"/>
              <a:gd name="connsiteY58" fmla="*/ 553531 h 1060076"/>
              <a:gd name="connsiteX59" fmla="*/ 1029528 w 1032516"/>
              <a:gd name="connsiteY59" fmla="*/ 507210 h 1060076"/>
              <a:gd name="connsiteX60" fmla="*/ 1025046 w 1032516"/>
              <a:gd name="connsiteY60" fmla="*/ 462383 h 1060076"/>
              <a:gd name="connsiteX61" fmla="*/ 1019069 w 1032516"/>
              <a:gd name="connsiteY61" fmla="*/ 417556 h 1060076"/>
              <a:gd name="connsiteX62" fmla="*/ 1011597 w 1032516"/>
              <a:gd name="connsiteY62" fmla="*/ 377211 h 1060076"/>
              <a:gd name="connsiteX63" fmla="*/ 1011597 w 1032516"/>
              <a:gd name="connsiteY63" fmla="*/ 374223 h 1060076"/>
              <a:gd name="connsiteX64" fmla="*/ 999644 w 1032516"/>
              <a:gd name="connsiteY64" fmla="*/ 332384 h 1060076"/>
              <a:gd name="connsiteX65" fmla="*/ 995161 w 1032516"/>
              <a:gd name="connsiteY65" fmla="*/ 317442 h 1060076"/>
              <a:gd name="connsiteX66" fmla="*/ 990678 w 1032516"/>
              <a:gd name="connsiteY66" fmla="*/ 305488 h 1060076"/>
              <a:gd name="connsiteX67" fmla="*/ 987690 w 1032516"/>
              <a:gd name="connsiteY67" fmla="*/ 299511 h 1060076"/>
              <a:gd name="connsiteX68" fmla="*/ 977230 w 1032516"/>
              <a:gd name="connsiteY68" fmla="*/ 268132 h 1060076"/>
              <a:gd name="connsiteX69" fmla="*/ 941368 w 1032516"/>
              <a:gd name="connsiteY69" fmla="*/ 202386 h 1060076"/>
              <a:gd name="connsiteX70" fmla="*/ 902518 w 1032516"/>
              <a:gd name="connsiteY70" fmla="*/ 154570 h 1060076"/>
              <a:gd name="connsiteX71" fmla="*/ 836772 w 1032516"/>
              <a:gd name="connsiteY71" fmla="*/ 99284 h 1060076"/>
              <a:gd name="connsiteX72" fmla="*/ 803899 w 1032516"/>
              <a:gd name="connsiteY72" fmla="*/ 78364 h 1060076"/>
              <a:gd name="connsiteX73" fmla="*/ 762060 w 1032516"/>
              <a:gd name="connsiteY73" fmla="*/ 54457 h 1060076"/>
              <a:gd name="connsiteX74" fmla="*/ 723210 w 1032516"/>
              <a:gd name="connsiteY74" fmla="*/ 33537 h 1060076"/>
              <a:gd name="connsiteX75" fmla="*/ 705279 w 1032516"/>
              <a:gd name="connsiteY75" fmla="*/ 26066 h 1060076"/>
              <a:gd name="connsiteX76" fmla="*/ 648498 w 1032516"/>
              <a:gd name="connsiteY76" fmla="*/ 6641 h 1060076"/>
              <a:gd name="connsiteX77" fmla="*/ 603671 w 1032516"/>
              <a:gd name="connsiteY77" fmla="*/ 2158 h 106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1032516" h="1060076">
                <a:moveTo>
                  <a:pt x="603671" y="2158"/>
                </a:moveTo>
                <a:cubicBezTo>
                  <a:pt x="594706" y="664"/>
                  <a:pt x="587235" y="664"/>
                  <a:pt x="579763" y="664"/>
                </a:cubicBezTo>
                <a:cubicBezTo>
                  <a:pt x="543902" y="-830"/>
                  <a:pt x="506546" y="664"/>
                  <a:pt x="458730" y="664"/>
                </a:cubicBezTo>
                <a:cubicBezTo>
                  <a:pt x="439305" y="2158"/>
                  <a:pt x="418386" y="5147"/>
                  <a:pt x="395972" y="9629"/>
                </a:cubicBezTo>
                <a:cubicBezTo>
                  <a:pt x="370570" y="15606"/>
                  <a:pt x="349651" y="23078"/>
                  <a:pt x="330226" y="32043"/>
                </a:cubicBezTo>
                <a:cubicBezTo>
                  <a:pt x="325743" y="33537"/>
                  <a:pt x="321261" y="35032"/>
                  <a:pt x="316778" y="38020"/>
                </a:cubicBezTo>
                <a:cubicBezTo>
                  <a:pt x="304824" y="43997"/>
                  <a:pt x="291376" y="49974"/>
                  <a:pt x="279422" y="57445"/>
                </a:cubicBezTo>
                <a:lnTo>
                  <a:pt x="271951" y="61928"/>
                </a:lnTo>
                <a:cubicBezTo>
                  <a:pt x="259997" y="69399"/>
                  <a:pt x="248043" y="73882"/>
                  <a:pt x="239078" y="81353"/>
                </a:cubicBezTo>
                <a:cubicBezTo>
                  <a:pt x="237583" y="81353"/>
                  <a:pt x="237583" y="81353"/>
                  <a:pt x="236089" y="82847"/>
                </a:cubicBezTo>
                <a:cubicBezTo>
                  <a:pt x="222641" y="90318"/>
                  <a:pt x="210687" y="97789"/>
                  <a:pt x="200228" y="103766"/>
                </a:cubicBezTo>
                <a:cubicBezTo>
                  <a:pt x="195745" y="106755"/>
                  <a:pt x="191262" y="111237"/>
                  <a:pt x="186779" y="112732"/>
                </a:cubicBezTo>
                <a:lnTo>
                  <a:pt x="182297" y="115720"/>
                </a:lnTo>
                <a:cubicBezTo>
                  <a:pt x="167354" y="127674"/>
                  <a:pt x="152412" y="141122"/>
                  <a:pt x="140458" y="154570"/>
                </a:cubicBezTo>
                <a:lnTo>
                  <a:pt x="137470" y="157559"/>
                </a:lnTo>
                <a:cubicBezTo>
                  <a:pt x="116550" y="178478"/>
                  <a:pt x="95631" y="202386"/>
                  <a:pt x="77700" y="224799"/>
                </a:cubicBezTo>
                <a:cubicBezTo>
                  <a:pt x="68735" y="236753"/>
                  <a:pt x="59769" y="248707"/>
                  <a:pt x="52298" y="259167"/>
                </a:cubicBezTo>
                <a:cubicBezTo>
                  <a:pt x="40344" y="277098"/>
                  <a:pt x="28390" y="296523"/>
                  <a:pt x="19425" y="315948"/>
                </a:cubicBezTo>
                <a:cubicBezTo>
                  <a:pt x="13448" y="332384"/>
                  <a:pt x="7471" y="348821"/>
                  <a:pt x="4483" y="368246"/>
                </a:cubicBezTo>
                <a:cubicBezTo>
                  <a:pt x="2988" y="374223"/>
                  <a:pt x="1494" y="381694"/>
                  <a:pt x="1494" y="387671"/>
                </a:cubicBezTo>
                <a:cubicBezTo>
                  <a:pt x="0" y="411579"/>
                  <a:pt x="0" y="432498"/>
                  <a:pt x="0" y="451923"/>
                </a:cubicBezTo>
                <a:cubicBezTo>
                  <a:pt x="0" y="480314"/>
                  <a:pt x="5977" y="508704"/>
                  <a:pt x="8965" y="532612"/>
                </a:cubicBezTo>
                <a:cubicBezTo>
                  <a:pt x="13448" y="553531"/>
                  <a:pt x="16437" y="577439"/>
                  <a:pt x="22414" y="601347"/>
                </a:cubicBezTo>
                <a:cubicBezTo>
                  <a:pt x="25402" y="613301"/>
                  <a:pt x="28390" y="625255"/>
                  <a:pt x="31379" y="635714"/>
                </a:cubicBezTo>
                <a:cubicBezTo>
                  <a:pt x="40344" y="662610"/>
                  <a:pt x="49310" y="689507"/>
                  <a:pt x="62758" y="719391"/>
                </a:cubicBezTo>
                <a:cubicBezTo>
                  <a:pt x="71723" y="741805"/>
                  <a:pt x="83677" y="762724"/>
                  <a:pt x="94137" y="782149"/>
                </a:cubicBezTo>
                <a:cubicBezTo>
                  <a:pt x="97125" y="786632"/>
                  <a:pt x="98620" y="791115"/>
                  <a:pt x="101608" y="795597"/>
                </a:cubicBezTo>
                <a:cubicBezTo>
                  <a:pt x="119539" y="826976"/>
                  <a:pt x="137470" y="853873"/>
                  <a:pt x="153906" y="879275"/>
                </a:cubicBezTo>
                <a:lnTo>
                  <a:pt x="155400" y="880769"/>
                </a:lnTo>
                <a:cubicBezTo>
                  <a:pt x="159883" y="888240"/>
                  <a:pt x="167354" y="897205"/>
                  <a:pt x="173331" y="904676"/>
                </a:cubicBezTo>
                <a:cubicBezTo>
                  <a:pt x="174826" y="907665"/>
                  <a:pt x="177814" y="910653"/>
                  <a:pt x="180802" y="913642"/>
                </a:cubicBezTo>
                <a:cubicBezTo>
                  <a:pt x="197239" y="933067"/>
                  <a:pt x="213676" y="949504"/>
                  <a:pt x="233101" y="965940"/>
                </a:cubicBezTo>
                <a:cubicBezTo>
                  <a:pt x="245055" y="976400"/>
                  <a:pt x="259997" y="985365"/>
                  <a:pt x="277928" y="995825"/>
                </a:cubicBezTo>
                <a:cubicBezTo>
                  <a:pt x="303330" y="1009273"/>
                  <a:pt x="325743" y="1018238"/>
                  <a:pt x="348157" y="1025710"/>
                </a:cubicBezTo>
                <a:cubicBezTo>
                  <a:pt x="349651" y="1025710"/>
                  <a:pt x="351145" y="1025710"/>
                  <a:pt x="352640" y="1027204"/>
                </a:cubicBezTo>
                <a:cubicBezTo>
                  <a:pt x="370570" y="1036169"/>
                  <a:pt x="385513" y="1042146"/>
                  <a:pt x="401949" y="1045135"/>
                </a:cubicBezTo>
                <a:cubicBezTo>
                  <a:pt x="425857" y="1052606"/>
                  <a:pt x="452753" y="1055594"/>
                  <a:pt x="481144" y="1058583"/>
                </a:cubicBezTo>
                <a:cubicBezTo>
                  <a:pt x="491603" y="1060077"/>
                  <a:pt x="502063" y="1060077"/>
                  <a:pt x="512523" y="1060077"/>
                </a:cubicBezTo>
                <a:cubicBezTo>
                  <a:pt x="515511" y="1060077"/>
                  <a:pt x="518500" y="1060077"/>
                  <a:pt x="521488" y="1060077"/>
                </a:cubicBezTo>
                <a:cubicBezTo>
                  <a:pt x="530454" y="1060077"/>
                  <a:pt x="540913" y="1060077"/>
                  <a:pt x="549879" y="1060077"/>
                </a:cubicBezTo>
                <a:cubicBezTo>
                  <a:pt x="551373" y="1060077"/>
                  <a:pt x="552867" y="1060077"/>
                  <a:pt x="554361" y="1060077"/>
                </a:cubicBezTo>
                <a:cubicBezTo>
                  <a:pt x="564821" y="1060077"/>
                  <a:pt x="575281" y="1058583"/>
                  <a:pt x="585740" y="1058583"/>
                </a:cubicBezTo>
                <a:cubicBezTo>
                  <a:pt x="587235" y="1058583"/>
                  <a:pt x="590223" y="1058583"/>
                  <a:pt x="593212" y="1058583"/>
                </a:cubicBezTo>
                <a:cubicBezTo>
                  <a:pt x="603671" y="1057089"/>
                  <a:pt x="614131" y="1057089"/>
                  <a:pt x="624590" y="1055594"/>
                </a:cubicBezTo>
                <a:cubicBezTo>
                  <a:pt x="644015" y="1052606"/>
                  <a:pt x="661946" y="1049617"/>
                  <a:pt x="684360" y="1043640"/>
                </a:cubicBezTo>
                <a:cubicBezTo>
                  <a:pt x="703785" y="1037663"/>
                  <a:pt x="729187" y="1030192"/>
                  <a:pt x="753095" y="1019733"/>
                </a:cubicBezTo>
                <a:cubicBezTo>
                  <a:pt x="756083" y="1018238"/>
                  <a:pt x="757577" y="1018238"/>
                  <a:pt x="760566" y="1016744"/>
                </a:cubicBezTo>
                <a:cubicBezTo>
                  <a:pt x="787462" y="1004790"/>
                  <a:pt x="812864" y="989848"/>
                  <a:pt x="830795" y="977894"/>
                </a:cubicBezTo>
                <a:cubicBezTo>
                  <a:pt x="848726" y="965940"/>
                  <a:pt x="866657" y="952492"/>
                  <a:pt x="884587" y="934561"/>
                </a:cubicBezTo>
                <a:cubicBezTo>
                  <a:pt x="905507" y="915136"/>
                  <a:pt x="921943" y="897205"/>
                  <a:pt x="935391" y="880769"/>
                </a:cubicBezTo>
                <a:cubicBezTo>
                  <a:pt x="950334" y="861344"/>
                  <a:pt x="965276" y="840424"/>
                  <a:pt x="977230" y="816517"/>
                </a:cubicBezTo>
                <a:cubicBezTo>
                  <a:pt x="989184" y="794103"/>
                  <a:pt x="996655" y="768701"/>
                  <a:pt x="1004126" y="746288"/>
                </a:cubicBezTo>
                <a:cubicBezTo>
                  <a:pt x="1008609" y="732839"/>
                  <a:pt x="1011597" y="720886"/>
                  <a:pt x="1014586" y="704449"/>
                </a:cubicBezTo>
                <a:cubicBezTo>
                  <a:pt x="1017574" y="691001"/>
                  <a:pt x="1020563" y="673070"/>
                  <a:pt x="1023551" y="655139"/>
                </a:cubicBezTo>
                <a:cubicBezTo>
                  <a:pt x="1025046" y="650656"/>
                  <a:pt x="1025046" y="644680"/>
                  <a:pt x="1026540" y="637208"/>
                </a:cubicBezTo>
                <a:cubicBezTo>
                  <a:pt x="1026540" y="635714"/>
                  <a:pt x="1028034" y="632726"/>
                  <a:pt x="1028034" y="629737"/>
                </a:cubicBezTo>
                <a:cubicBezTo>
                  <a:pt x="1029528" y="625255"/>
                  <a:pt x="1029528" y="619278"/>
                  <a:pt x="1029528" y="613301"/>
                </a:cubicBezTo>
                <a:cubicBezTo>
                  <a:pt x="1029528" y="608818"/>
                  <a:pt x="1029528" y="604335"/>
                  <a:pt x="1031022" y="598358"/>
                </a:cubicBezTo>
                <a:cubicBezTo>
                  <a:pt x="1032517" y="583416"/>
                  <a:pt x="1032517" y="568474"/>
                  <a:pt x="1032517" y="553531"/>
                </a:cubicBezTo>
                <a:cubicBezTo>
                  <a:pt x="1032517" y="538589"/>
                  <a:pt x="1031022" y="523646"/>
                  <a:pt x="1029528" y="507210"/>
                </a:cubicBezTo>
                <a:cubicBezTo>
                  <a:pt x="1028034" y="492268"/>
                  <a:pt x="1026540" y="478819"/>
                  <a:pt x="1025046" y="462383"/>
                </a:cubicBezTo>
                <a:cubicBezTo>
                  <a:pt x="1023551" y="448935"/>
                  <a:pt x="1022057" y="433992"/>
                  <a:pt x="1019069" y="417556"/>
                </a:cubicBezTo>
                <a:cubicBezTo>
                  <a:pt x="1016080" y="404108"/>
                  <a:pt x="1013092" y="390660"/>
                  <a:pt x="1011597" y="377211"/>
                </a:cubicBezTo>
                <a:lnTo>
                  <a:pt x="1011597" y="374223"/>
                </a:lnTo>
                <a:cubicBezTo>
                  <a:pt x="1008609" y="360775"/>
                  <a:pt x="1004126" y="345832"/>
                  <a:pt x="999644" y="332384"/>
                </a:cubicBezTo>
                <a:cubicBezTo>
                  <a:pt x="998149" y="327902"/>
                  <a:pt x="996655" y="321925"/>
                  <a:pt x="995161" y="317442"/>
                </a:cubicBezTo>
                <a:cubicBezTo>
                  <a:pt x="993667" y="312959"/>
                  <a:pt x="992172" y="308477"/>
                  <a:pt x="990678" y="305488"/>
                </a:cubicBezTo>
                <a:cubicBezTo>
                  <a:pt x="989184" y="302500"/>
                  <a:pt x="989184" y="301005"/>
                  <a:pt x="987690" y="299511"/>
                </a:cubicBezTo>
                <a:cubicBezTo>
                  <a:pt x="984701" y="289052"/>
                  <a:pt x="980218" y="280086"/>
                  <a:pt x="977230" y="268132"/>
                </a:cubicBezTo>
                <a:cubicBezTo>
                  <a:pt x="966770" y="244224"/>
                  <a:pt x="954816" y="221811"/>
                  <a:pt x="941368" y="202386"/>
                </a:cubicBezTo>
                <a:cubicBezTo>
                  <a:pt x="930909" y="185949"/>
                  <a:pt x="918955" y="171007"/>
                  <a:pt x="902518" y="154570"/>
                </a:cubicBezTo>
                <a:cubicBezTo>
                  <a:pt x="883093" y="133651"/>
                  <a:pt x="859185" y="115720"/>
                  <a:pt x="836772" y="99284"/>
                </a:cubicBezTo>
                <a:cubicBezTo>
                  <a:pt x="826312" y="91812"/>
                  <a:pt x="814358" y="84341"/>
                  <a:pt x="803899" y="78364"/>
                </a:cubicBezTo>
                <a:cubicBezTo>
                  <a:pt x="788956" y="69399"/>
                  <a:pt x="775508" y="61928"/>
                  <a:pt x="762060" y="54457"/>
                </a:cubicBezTo>
                <a:cubicBezTo>
                  <a:pt x="747118" y="46985"/>
                  <a:pt x="735164" y="41008"/>
                  <a:pt x="723210" y="33537"/>
                </a:cubicBezTo>
                <a:cubicBezTo>
                  <a:pt x="717233" y="30549"/>
                  <a:pt x="711256" y="27560"/>
                  <a:pt x="705279" y="26066"/>
                </a:cubicBezTo>
                <a:cubicBezTo>
                  <a:pt x="687348" y="18595"/>
                  <a:pt x="669417" y="12618"/>
                  <a:pt x="648498" y="6641"/>
                </a:cubicBezTo>
                <a:cubicBezTo>
                  <a:pt x="636544" y="8135"/>
                  <a:pt x="620108" y="5147"/>
                  <a:pt x="603671" y="2158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04D16E4-4624-4278-B715-67880DA96A00}"/>
              </a:ext>
            </a:extLst>
          </p:cNvPr>
          <p:cNvSpPr/>
          <p:nvPr userDrawn="1"/>
        </p:nvSpPr>
        <p:spPr>
          <a:xfrm>
            <a:off x="7282543" y="2020659"/>
            <a:ext cx="1061311" cy="1001193"/>
          </a:xfrm>
          <a:custGeom>
            <a:avLst/>
            <a:gdLst>
              <a:gd name="connsiteX0" fmla="*/ 835278 w 877116"/>
              <a:gd name="connsiteY0" fmla="*/ 593211 h 827432"/>
              <a:gd name="connsiteX1" fmla="*/ 842749 w 877116"/>
              <a:gd name="connsiteY1" fmla="*/ 575281 h 827432"/>
              <a:gd name="connsiteX2" fmla="*/ 869645 w 877116"/>
              <a:gd name="connsiteY2" fmla="*/ 481144 h 827432"/>
              <a:gd name="connsiteX3" fmla="*/ 877116 w 877116"/>
              <a:gd name="connsiteY3" fmla="*/ 430340 h 827432"/>
              <a:gd name="connsiteX4" fmla="*/ 875622 w 877116"/>
              <a:gd name="connsiteY4" fmla="*/ 373559 h 827432"/>
              <a:gd name="connsiteX5" fmla="*/ 874128 w 877116"/>
              <a:gd name="connsiteY5" fmla="*/ 361605 h 827432"/>
              <a:gd name="connsiteX6" fmla="*/ 868151 w 877116"/>
              <a:gd name="connsiteY6" fmla="*/ 328732 h 827432"/>
              <a:gd name="connsiteX7" fmla="*/ 863668 w 877116"/>
              <a:gd name="connsiteY7" fmla="*/ 319766 h 827432"/>
              <a:gd name="connsiteX8" fmla="*/ 856197 w 877116"/>
              <a:gd name="connsiteY8" fmla="*/ 289882 h 827432"/>
              <a:gd name="connsiteX9" fmla="*/ 856197 w 877116"/>
              <a:gd name="connsiteY9" fmla="*/ 286893 h 827432"/>
              <a:gd name="connsiteX10" fmla="*/ 848726 w 877116"/>
              <a:gd name="connsiteY10" fmla="*/ 254020 h 827432"/>
              <a:gd name="connsiteX11" fmla="*/ 844243 w 877116"/>
              <a:gd name="connsiteY11" fmla="*/ 242066 h 827432"/>
              <a:gd name="connsiteX12" fmla="*/ 842749 w 877116"/>
              <a:gd name="connsiteY12" fmla="*/ 237583 h 827432"/>
              <a:gd name="connsiteX13" fmla="*/ 821829 w 877116"/>
              <a:gd name="connsiteY13" fmla="*/ 195745 h 827432"/>
              <a:gd name="connsiteX14" fmla="*/ 820335 w 877116"/>
              <a:gd name="connsiteY14" fmla="*/ 192756 h 827432"/>
              <a:gd name="connsiteX15" fmla="*/ 781485 w 877116"/>
              <a:gd name="connsiteY15" fmla="*/ 129998 h 827432"/>
              <a:gd name="connsiteX16" fmla="*/ 759072 w 877116"/>
              <a:gd name="connsiteY16" fmla="*/ 101608 h 827432"/>
              <a:gd name="connsiteX17" fmla="*/ 721716 w 877116"/>
              <a:gd name="connsiteY17" fmla="*/ 62758 h 827432"/>
              <a:gd name="connsiteX18" fmla="*/ 684360 w 877116"/>
              <a:gd name="connsiteY18" fmla="*/ 38850 h 827432"/>
              <a:gd name="connsiteX19" fmla="*/ 669417 w 877116"/>
              <a:gd name="connsiteY19" fmla="*/ 31379 h 827432"/>
              <a:gd name="connsiteX20" fmla="*/ 621602 w 877116"/>
              <a:gd name="connsiteY20" fmla="*/ 16437 h 827432"/>
              <a:gd name="connsiteX21" fmla="*/ 555856 w 877116"/>
              <a:gd name="connsiteY21" fmla="*/ 5977 h 827432"/>
              <a:gd name="connsiteX22" fmla="*/ 499075 w 877116"/>
              <a:gd name="connsiteY22" fmla="*/ 1494 h 827432"/>
              <a:gd name="connsiteX23" fmla="*/ 470684 w 877116"/>
              <a:gd name="connsiteY23" fmla="*/ 0 h 827432"/>
              <a:gd name="connsiteX24" fmla="*/ 397467 w 877116"/>
              <a:gd name="connsiteY24" fmla="*/ 4483 h 827432"/>
              <a:gd name="connsiteX25" fmla="*/ 340686 w 877116"/>
              <a:gd name="connsiteY25" fmla="*/ 14942 h 827432"/>
              <a:gd name="connsiteX26" fmla="*/ 328732 w 877116"/>
              <a:gd name="connsiteY26" fmla="*/ 17931 h 827432"/>
              <a:gd name="connsiteX27" fmla="*/ 251032 w 877116"/>
              <a:gd name="connsiteY27" fmla="*/ 40344 h 827432"/>
              <a:gd name="connsiteX28" fmla="*/ 251032 w 877116"/>
              <a:gd name="connsiteY28" fmla="*/ 41839 h 827432"/>
              <a:gd name="connsiteX29" fmla="*/ 227124 w 877116"/>
              <a:gd name="connsiteY29" fmla="*/ 50804 h 827432"/>
              <a:gd name="connsiteX30" fmla="*/ 218158 w 877116"/>
              <a:gd name="connsiteY30" fmla="*/ 55287 h 827432"/>
              <a:gd name="connsiteX31" fmla="*/ 165860 w 877116"/>
              <a:gd name="connsiteY31" fmla="*/ 83677 h 827432"/>
              <a:gd name="connsiteX32" fmla="*/ 131493 w 877116"/>
              <a:gd name="connsiteY32" fmla="*/ 112068 h 827432"/>
              <a:gd name="connsiteX33" fmla="*/ 92643 w 877116"/>
              <a:gd name="connsiteY33" fmla="*/ 159883 h 827432"/>
              <a:gd name="connsiteX34" fmla="*/ 89654 w 877116"/>
              <a:gd name="connsiteY34" fmla="*/ 162872 h 827432"/>
              <a:gd name="connsiteX35" fmla="*/ 64252 w 877116"/>
              <a:gd name="connsiteY35" fmla="*/ 197239 h 827432"/>
              <a:gd name="connsiteX36" fmla="*/ 34367 w 877116"/>
              <a:gd name="connsiteY36" fmla="*/ 255514 h 827432"/>
              <a:gd name="connsiteX37" fmla="*/ 25402 w 877116"/>
              <a:gd name="connsiteY37" fmla="*/ 279422 h 827432"/>
              <a:gd name="connsiteX38" fmla="*/ 23908 w 877116"/>
              <a:gd name="connsiteY38" fmla="*/ 285399 h 827432"/>
              <a:gd name="connsiteX39" fmla="*/ 16437 w 877116"/>
              <a:gd name="connsiteY39" fmla="*/ 307813 h 827432"/>
              <a:gd name="connsiteX40" fmla="*/ 14942 w 877116"/>
              <a:gd name="connsiteY40" fmla="*/ 310801 h 827432"/>
              <a:gd name="connsiteX41" fmla="*/ 8965 w 877116"/>
              <a:gd name="connsiteY41" fmla="*/ 334709 h 827432"/>
              <a:gd name="connsiteX42" fmla="*/ 7471 w 877116"/>
              <a:gd name="connsiteY42" fmla="*/ 340686 h 827432"/>
              <a:gd name="connsiteX43" fmla="*/ 2988 w 877116"/>
              <a:gd name="connsiteY43" fmla="*/ 366088 h 827432"/>
              <a:gd name="connsiteX44" fmla="*/ 0 w 877116"/>
              <a:gd name="connsiteY44" fmla="*/ 415397 h 827432"/>
              <a:gd name="connsiteX45" fmla="*/ 2988 w 877116"/>
              <a:gd name="connsiteY45" fmla="*/ 475167 h 827432"/>
              <a:gd name="connsiteX46" fmla="*/ 4483 w 877116"/>
              <a:gd name="connsiteY46" fmla="*/ 482638 h 827432"/>
              <a:gd name="connsiteX47" fmla="*/ 19425 w 877116"/>
              <a:gd name="connsiteY47" fmla="*/ 546890 h 827432"/>
              <a:gd name="connsiteX48" fmla="*/ 40344 w 877116"/>
              <a:gd name="connsiteY48" fmla="*/ 599188 h 827432"/>
              <a:gd name="connsiteX49" fmla="*/ 70229 w 877116"/>
              <a:gd name="connsiteY49" fmla="*/ 651487 h 827432"/>
              <a:gd name="connsiteX50" fmla="*/ 110573 w 877116"/>
              <a:gd name="connsiteY50" fmla="*/ 699302 h 827432"/>
              <a:gd name="connsiteX51" fmla="*/ 159883 w 877116"/>
              <a:gd name="connsiteY51" fmla="*/ 736658 h 827432"/>
              <a:gd name="connsiteX52" fmla="*/ 189768 w 877116"/>
              <a:gd name="connsiteY52" fmla="*/ 754589 h 827432"/>
              <a:gd name="connsiteX53" fmla="*/ 225630 w 877116"/>
              <a:gd name="connsiteY53" fmla="*/ 774014 h 827432"/>
              <a:gd name="connsiteX54" fmla="*/ 239078 w 877116"/>
              <a:gd name="connsiteY54" fmla="*/ 779991 h 827432"/>
              <a:gd name="connsiteX55" fmla="*/ 245055 w 877116"/>
              <a:gd name="connsiteY55" fmla="*/ 782979 h 827432"/>
              <a:gd name="connsiteX56" fmla="*/ 257009 w 877116"/>
              <a:gd name="connsiteY56" fmla="*/ 787462 h 827432"/>
              <a:gd name="connsiteX57" fmla="*/ 268962 w 877116"/>
              <a:gd name="connsiteY57" fmla="*/ 791945 h 827432"/>
              <a:gd name="connsiteX58" fmla="*/ 303330 w 877116"/>
              <a:gd name="connsiteY58" fmla="*/ 803899 h 827432"/>
              <a:gd name="connsiteX59" fmla="*/ 340686 w 877116"/>
              <a:gd name="connsiteY59" fmla="*/ 812864 h 827432"/>
              <a:gd name="connsiteX60" fmla="*/ 376547 w 877116"/>
              <a:gd name="connsiteY60" fmla="*/ 818841 h 827432"/>
              <a:gd name="connsiteX61" fmla="*/ 412409 w 877116"/>
              <a:gd name="connsiteY61" fmla="*/ 823324 h 827432"/>
              <a:gd name="connsiteX62" fmla="*/ 445282 w 877116"/>
              <a:gd name="connsiteY62" fmla="*/ 826312 h 827432"/>
              <a:gd name="connsiteX63" fmla="*/ 448271 w 877116"/>
              <a:gd name="connsiteY63" fmla="*/ 826312 h 827432"/>
              <a:gd name="connsiteX64" fmla="*/ 484132 w 877116"/>
              <a:gd name="connsiteY64" fmla="*/ 826312 h 827432"/>
              <a:gd name="connsiteX65" fmla="*/ 497580 w 877116"/>
              <a:gd name="connsiteY65" fmla="*/ 826312 h 827432"/>
              <a:gd name="connsiteX66" fmla="*/ 508040 w 877116"/>
              <a:gd name="connsiteY66" fmla="*/ 826312 h 827432"/>
              <a:gd name="connsiteX67" fmla="*/ 512523 w 877116"/>
              <a:gd name="connsiteY67" fmla="*/ 826312 h 827432"/>
              <a:gd name="connsiteX68" fmla="*/ 539419 w 877116"/>
              <a:gd name="connsiteY68" fmla="*/ 824818 h 827432"/>
              <a:gd name="connsiteX69" fmla="*/ 599188 w 877116"/>
              <a:gd name="connsiteY69" fmla="*/ 811370 h 827432"/>
              <a:gd name="connsiteX70" fmla="*/ 645510 w 877116"/>
              <a:gd name="connsiteY70" fmla="*/ 791945 h 827432"/>
              <a:gd name="connsiteX71" fmla="*/ 703785 w 877116"/>
              <a:gd name="connsiteY71" fmla="*/ 753095 h 827432"/>
              <a:gd name="connsiteX72" fmla="*/ 727693 w 877116"/>
              <a:gd name="connsiteY72" fmla="*/ 732175 h 827432"/>
              <a:gd name="connsiteX73" fmla="*/ 756083 w 877116"/>
              <a:gd name="connsiteY73" fmla="*/ 705279 h 827432"/>
              <a:gd name="connsiteX74" fmla="*/ 781485 w 877116"/>
              <a:gd name="connsiteY74" fmla="*/ 679877 h 827432"/>
              <a:gd name="connsiteX75" fmla="*/ 791945 w 877116"/>
              <a:gd name="connsiteY75" fmla="*/ 667923 h 827432"/>
              <a:gd name="connsiteX76" fmla="*/ 820335 w 877116"/>
              <a:gd name="connsiteY76" fmla="*/ 629073 h 827432"/>
              <a:gd name="connsiteX77" fmla="*/ 835278 w 877116"/>
              <a:gd name="connsiteY77" fmla="*/ 593211 h 8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877116" h="827432">
                <a:moveTo>
                  <a:pt x="835278" y="593211"/>
                </a:moveTo>
                <a:cubicBezTo>
                  <a:pt x="838266" y="587235"/>
                  <a:pt x="839760" y="579763"/>
                  <a:pt x="842749" y="575281"/>
                </a:cubicBezTo>
                <a:cubicBezTo>
                  <a:pt x="851714" y="548384"/>
                  <a:pt x="859185" y="518500"/>
                  <a:pt x="869645" y="481144"/>
                </a:cubicBezTo>
                <a:cubicBezTo>
                  <a:pt x="874128" y="464707"/>
                  <a:pt x="875622" y="448271"/>
                  <a:pt x="877116" y="430340"/>
                </a:cubicBezTo>
                <a:cubicBezTo>
                  <a:pt x="877116" y="409420"/>
                  <a:pt x="877116" y="391490"/>
                  <a:pt x="875622" y="373559"/>
                </a:cubicBezTo>
                <a:cubicBezTo>
                  <a:pt x="875622" y="369076"/>
                  <a:pt x="874128" y="366088"/>
                  <a:pt x="874128" y="361605"/>
                </a:cubicBezTo>
                <a:cubicBezTo>
                  <a:pt x="872633" y="349651"/>
                  <a:pt x="869645" y="339191"/>
                  <a:pt x="868151" y="328732"/>
                </a:cubicBezTo>
                <a:lnTo>
                  <a:pt x="863668" y="319766"/>
                </a:lnTo>
                <a:cubicBezTo>
                  <a:pt x="860680" y="307813"/>
                  <a:pt x="859185" y="298847"/>
                  <a:pt x="856197" y="289882"/>
                </a:cubicBezTo>
                <a:cubicBezTo>
                  <a:pt x="856197" y="288387"/>
                  <a:pt x="856197" y="288387"/>
                  <a:pt x="856197" y="286893"/>
                </a:cubicBezTo>
                <a:cubicBezTo>
                  <a:pt x="853208" y="274939"/>
                  <a:pt x="850220" y="264480"/>
                  <a:pt x="848726" y="254020"/>
                </a:cubicBezTo>
                <a:cubicBezTo>
                  <a:pt x="847232" y="249537"/>
                  <a:pt x="845737" y="245055"/>
                  <a:pt x="844243" y="242066"/>
                </a:cubicBezTo>
                <a:lnTo>
                  <a:pt x="842749" y="237583"/>
                </a:lnTo>
                <a:cubicBezTo>
                  <a:pt x="836772" y="222641"/>
                  <a:pt x="830795" y="209193"/>
                  <a:pt x="821829" y="195745"/>
                </a:cubicBezTo>
                <a:lnTo>
                  <a:pt x="820335" y="192756"/>
                </a:lnTo>
                <a:cubicBezTo>
                  <a:pt x="808381" y="170343"/>
                  <a:pt x="794933" y="149424"/>
                  <a:pt x="781485" y="129998"/>
                </a:cubicBezTo>
                <a:cubicBezTo>
                  <a:pt x="774014" y="119539"/>
                  <a:pt x="766543" y="110573"/>
                  <a:pt x="759072" y="101608"/>
                </a:cubicBezTo>
                <a:cubicBezTo>
                  <a:pt x="748612" y="89654"/>
                  <a:pt x="736658" y="74712"/>
                  <a:pt x="721716" y="62758"/>
                </a:cubicBezTo>
                <a:cubicBezTo>
                  <a:pt x="711256" y="53792"/>
                  <a:pt x="699302" y="46321"/>
                  <a:pt x="684360" y="38850"/>
                </a:cubicBezTo>
                <a:cubicBezTo>
                  <a:pt x="679877" y="35862"/>
                  <a:pt x="673900" y="34367"/>
                  <a:pt x="669417" y="31379"/>
                </a:cubicBezTo>
                <a:cubicBezTo>
                  <a:pt x="652981" y="25402"/>
                  <a:pt x="636544" y="20919"/>
                  <a:pt x="621602" y="16437"/>
                </a:cubicBezTo>
                <a:cubicBezTo>
                  <a:pt x="599188" y="10460"/>
                  <a:pt x="576775" y="7471"/>
                  <a:pt x="555856" y="5977"/>
                </a:cubicBezTo>
                <a:cubicBezTo>
                  <a:pt x="537925" y="4483"/>
                  <a:pt x="518500" y="1494"/>
                  <a:pt x="499075" y="1494"/>
                </a:cubicBezTo>
                <a:cubicBezTo>
                  <a:pt x="490109" y="0"/>
                  <a:pt x="479650" y="0"/>
                  <a:pt x="470684" y="0"/>
                </a:cubicBezTo>
                <a:cubicBezTo>
                  <a:pt x="448271" y="0"/>
                  <a:pt x="424363" y="1494"/>
                  <a:pt x="397467" y="4483"/>
                </a:cubicBezTo>
                <a:cubicBezTo>
                  <a:pt x="379536" y="7471"/>
                  <a:pt x="360111" y="11954"/>
                  <a:pt x="340686" y="14942"/>
                </a:cubicBezTo>
                <a:cubicBezTo>
                  <a:pt x="336203" y="16437"/>
                  <a:pt x="333215" y="16437"/>
                  <a:pt x="328732" y="17931"/>
                </a:cubicBezTo>
                <a:cubicBezTo>
                  <a:pt x="300341" y="23908"/>
                  <a:pt x="274939" y="31379"/>
                  <a:pt x="251032" y="40344"/>
                </a:cubicBezTo>
                <a:lnTo>
                  <a:pt x="251032" y="41839"/>
                </a:lnTo>
                <a:cubicBezTo>
                  <a:pt x="243560" y="44827"/>
                  <a:pt x="236089" y="47816"/>
                  <a:pt x="227124" y="50804"/>
                </a:cubicBezTo>
                <a:cubicBezTo>
                  <a:pt x="224135" y="52298"/>
                  <a:pt x="221147" y="53792"/>
                  <a:pt x="218158" y="55287"/>
                </a:cubicBezTo>
                <a:cubicBezTo>
                  <a:pt x="200228" y="64252"/>
                  <a:pt x="182297" y="73218"/>
                  <a:pt x="165860" y="83677"/>
                </a:cubicBezTo>
                <a:cubicBezTo>
                  <a:pt x="155400" y="89654"/>
                  <a:pt x="143447" y="100114"/>
                  <a:pt x="131493" y="112068"/>
                </a:cubicBezTo>
                <a:cubicBezTo>
                  <a:pt x="115056" y="128504"/>
                  <a:pt x="103102" y="143447"/>
                  <a:pt x="92643" y="159883"/>
                </a:cubicBezTo>
                <a:cubicBezTo>
                  <a:pt x="92643" y="161377"/>
                  <a:pt x="91148" y="162872"/>
                  <a:pt x="89654" y="162872"/>
                </a:cubicBezTo>
                <a:cubicBezTo>
                  <a:pt x="79194" y="174826"/>
                  <a:pt x="70229" y="185285"/>
                  <a:pt x="64252" y="197239"/>
                </a:cubicBezTo>
                <a:cubicBezTo>
                  <a:pt x="53792" y="215170"/>
                  <a:pt x="44827" y="234595"/>
                  <a:pt x="34367" y="255514"/>
                </a:cubicBezTo>
                <a:cubicBezTo>
                  <a:pt x="31379" y="262985"/>
                  <a:pt x="28390" y="271951"/>
                  <a:pt x="25402" y="279422"/>
                </a:cubicBezTo>
                <a:cubicBezTo>
                  <a:pt x="25402" y="282410"/>
                  <a:pt x="23908" y="283905"/>
                  <a:pt x="23908" y="285399"/>
                </a:cubicBezTo>
                <a:cubicBezTo>
                  <a:pt x="22414" y="292870"/>
                  <a:pt x="19425" y="300341"/>
                  <a:pt x="16437" y="307813"/>
                </a:cubicBezTo>
                <a:cubicBezTo>
                  <a:pt x="16437" y="309307"/>
                  <a:pt x="16437" y="310801"/>
                  <a:pt x="14942" y="310801"/>
                </a:cubicBezTo>
                <a:cubicBezTo>
                  <a:pt x="13448" y="318272"/>
                  <a:pt x="10460" y="327238"/>
                  <a:pt x="8965" y="334709"/>
                </a:cubicBezTo>
                <a:cubicBezTo>
                  <a:pt x="8965" y="336203"/>
                  <a:pt x="7471" y="339191"/>
                  <a:pt x="7471" y="340686"/>
                </a:cubicBezTo>
                <a:cubicBezTo>
                  <a:pt x="5977" y="349651"/>
                  <a:pt x="4483" y="357122"/>
                  <a:pt x="2988" y="366088"/>
                </a:cubicBezTo>
                <a:cubicBezTo>
                  <a:pt x="0" y="382524"/>
                  <a:pt x="0" y="397467"/>
                  <a:pt x="0" y="415397"/>
                </a:cubicBezTo>
                <a:cubicBezTo>
                  <a:pt x="0" y="431834"/>
                  <a:pt x="0" y="452753"/>
                  <a:pt x="2988" y="475167"/>
                </a:cubicBezTo>
                <a:cubicBezTo>
                  <a:pt x="2988" y="478155"/>
                  <a:pt x="2988" y="479650"/>
                  <a:pt x="4483" y="482638"/>
                </a:cubicBezTo>
                <a:cubicBezTo>
                  <a:pt x="7471" y="506546"/>
                  <a:pt x="13448" y="528959"/>
                  <a:pt x="19425" y="546890"/>
                </a:cubicBezTo>
                <a:cubicBezTo>
                  <a:pt x="25402" y="564821"/>
                  <a:pt x="31379" y="581258"/>
                  <a:pt x="40344" y="599188"/>
                </a:cubicBezTo>
                <a:cubicBezTo>
                  <a:pt x="50804" y="620108"/>
                  <a:pt x="59769" y="636544"/>
                  <a:pt x="70229" y="651487"/>
                </a:cubicBezTo>
                <a:cubicBezTo>
                  <a:pt x="82183" y="667923"/>
                  <a:pt x="95631" y="684360"/>
                  <a:pt x="110573" y="699302"/>
                </a:cubicBezTo>
                <a:cubicBezTo>
                  <a:pt x="125516" y="714245"/>
                  <a:pt x="143447" y="726198"/>
                  <a:pt x="159883" y="736658"/>
                </a:cubicBezTo>
                <a:cubicBezTo>
                  <a:pt x="168849" y="742635"/>
                  <a:pt x="177814" y="748612"/>
                  <a:pt x="189768" y="754589"/>
                </a:cubicBezTo>
                <a:cubicBezTo>
                  <a:pt x="200228" y="759072"/>
                  <a:pt x="212181" y="766543"/>
                  <a:pt x="225630" y="774014"/>
                </a:cubicBezTo>
                <a:cubicBezTo>
                  <a:pt x="230112" y="775508"/>
                  <a:pt x="234595" y="777002"/>
                  <a:pt x="239078" y="779991"/>
                </a:cubicBezTo>
                <a:cubicBezTo>
                  <a:pt x="240572" y="779991"/>
                  <a:pt x="243560" y="781485"/>
                  <a:pt x="245055" y="782979"/>
                </a:cubicBezTo>
                <a:cubicBezTo>
                  <a:pt x="249537" y="784474"/>
                  <a:pt x="252526" y="787462"/>
                  <a:pt x="257009" y="787462"/>
                </a:cubicBezTo>
                <a:cubicBezTo>
                  <a:pt x="259997" y="788956"/>
                  <a:pt x="264480" y="788956"/>
                  <a:pt x="268962" y="791945"/>
                </a:cubicBezTo>
                <a:cubicBezTo>
                  <a:pt x="280916" y="796427"/>
                  <a:pt x="291376" y="799416"/>
                  <a:pt x="303330" y="803899"/>
                </a:cubicBezTo>
                <a:cubicBezTo>
                  <a:pt x="315284" y="806887"/>
                  <a:pt x="327238" y="809876"/>
                  <a:pt x="340686" y="812864"/>
                </a:cubicBezTo>
                <a:cubicBezTo>
                  <a:pt x="352640" y="815853"/>
                  <a:pt x="364593" y="817347"/>
                  <a:pt x="376547" y="818841"/>
                </a:cubicBezTo>
                <a:cubicBezTo>
                  <a:pt x="387007" y="820335"/>
                  <a:pt x="398961" y="821829"/>
                  <a:pt x="412409" y="823324"/>
                </a:cubicBezTo>
                <a:cubicBezTo>
                  <a:pt x="422869" y="824818"/>
                  <a:pt x="434823" y="824818"/>
                  <a:pt x="445282" y="826312"/>
                </a:cubicBezTo>
                <a:lnTo>
                  <a:pt x="448271" y="826312"/>
                </a:lnTo>
                <a:cubicBezTo>
                  <a:pt x="460225" y="827806"/>
                  <a:pt x="472178" y="827806"/>
                  <a:pt x="484132" y="826312"/>
                </a:cubicBezTo>
                <a:cubicBezTo>
                  <a:pt x="488615" y="826312"/>
                  <a:pt x="493098" y="826312"/>
                  <a:pt x="497580" y="826312"/>
                </a:cubicBezTo>
                <a:cubicBezTo>
                  <a:pt x="500569" y="826312"/>
                  <a:pt x="505052" y="826312"/>
                  <a:pt x="508040" y="826312"/>
                </a:cubicBezTo>
                <a:cubicBezTo>
                  <a:pt x="509534" y="826312"/>
                  <a:pt x="511029" y="826312"/>
                  <a:pt x="512523" y="826312"/>
                </a:cubicBezTo>
                <a:cubicBezTo>
                  <a:pt x="521488" y="826312"/>
                  <a:pt x="528959" y="824818"/>
                  <a:pt x="539419" y="824818"/>
                </a:cubicBezTo>
                <a:cubicBezTo>
                  <a:pt x="560338" y="821829"/>
                  <a:pt x="581258" y="817347"/>
                  <a:pt x="599188" y="811370"/>
                </a:cubicBezTo>
                <a:cubicBezTo>
                  <a:pt x="614131" y="806887"/>
                  <a:pt x="629073" y="800910"/>
                  <a:pt x="645510" y="791945"/>
                </a:cubicBezTo>
                <a:cubicBezTo>
                  <a:pt x="666429" y="781485"/>
                  <a:pt x="685854" y="766543"/>
                  <a:pt x="703785" y="753095"/>
                </a:cubicBezTo>
                <a:cubicBezTo>
                  <a:pt x="712750" y="747118"/>
                  <a:pt x="720222" y="739647"/>
                  <a:pt x="727693" y="732175"/>
                </a:cubicBezTo>
                <a:cubicBezTo>
                  <a:pt x="738152" y="723210"/>
                  <a:pt x="747118" y="714245"/>
                  <a:pt x="756083" y="705279"/>
                </a:cubicBezTo>
                <a:cubicBezTo>
                  <a:pt x="765049" y="696314"/>
                  <a:pt x="774014" y="687348"/>
                  <a:pt x="781485" y="679877"/>
                </a:cubicBezTo>
                <a:cubicBezTo>
                  <a:pt x="785968" y="675394"/>
                  <a:pt x="788956" y="672406"/>
                  <a:pt x="791945" y="667923"/>
                </a:cubicBezTo>
                <a:cubicBezTo>
                  <a:pt x="802404" y="655969"/>
                  <a:pt x="811370" y="642521"/>
                  <a:pt x="820335" y="629073"/>
                </a:cubicBezTo>
                <a:cubicBezTo>
                  <a:pt x="821829" y="617119"/>
                  <a:pt x="829301" y="605165"/>
                  <a:pt x="835278" y="593211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D35F429-8BCA-4411-8719-5FFABD82F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6905CEB-E1ED-4EAB-8BA5-F7164DB8FB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01159BC-1CDD-33C7-DD9B-1A822FFAC60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71455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a. Title-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1807FA3-946A-44CC-81FA-E47303F25B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4201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49B5D7B2-985E-6E41-9922-2605D135917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8CCF989-E771-45B1-8B74-CCFD81D962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8C423C7-9D5D-4E33-8FD6-C5BD1A490C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80058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C63DAC8-2DC2-4A7B-A011-855C8FA9CD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3415160-813B-48F9-AE8C-3C550C476E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0831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54050" y="2070847"/>
            <a:ext cx="13317982" cy="5061473"/>
          </a:xfrm>
        </p:spPr>
        <p:txBody>
          <a:bodyPr rIns="0" anchor="ctr" anchorCtr="1"/>
          <a:lstStyle>
            <a:lvl1pPr marL="0" indent="0" algn="ctr">
              <a:buNone/>
              <a:defRPr b="0" i="0"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7A9A2BF-1DA6-0D4C-B0DC-5D2D7A0290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4201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4DD99A0D-D8D4-394D-AEE9-CF44B9D1DC8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ADCE0AF-924B-4341-8091-C9BFDD54F5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60E1F53-CAA9-4602-B602-01ED43F959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42583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. Title-Logo">
    <p:bg>
      <p:bgPr>
        <a:solidFill>
          <a:srgbClr val="242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EFA3FD4E-3948-5F42-8C94-D7E3D22AC7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3513" y="2432521"/>
            <a:ext cx="4043373" cy="2905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7770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2. Title-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043660E-052B-A243-84DF-73AF07C780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3513" y="2432521"/>
            <a:ext cx="4043373" cy="2905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824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F450BD-C944-0A21-D2D2-19B48F0233E4}"/>
              </a:ext>
            </a:extLst>
          </p:cNvPr>
          <p:cNvSpPr/>
          <p:nvPr userDrawn="1"/>
        </p:nvSpPr>
        <p:spPr>
          <a:xfrm>
            <a:off x="0" y="1"/>
            <a:ext cx="7315200" cy="8229551"/>
          </a:xfrm>
          <a:prstGeom prst="rect">
            <a:avLst/>
          </a:prstGeom>
          <a:solidFill>
            <a:srgbClr val="EFEFEF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9CE615-BF00-B94F-3F1C-0F5FE0D35ACD}"/>
              </a:ext>
            </a:extLst>
          </p:cNvPr>
          <p:cNvCxnSpPr>
            <a:cxnSpLocks/>
          </p:cNvCxnSpPr>
          <p:nvPr/>
        </p:nvCxnSpPr>
        <p:spPr>
          <a:xfrm>
            <a:off x="8495500" y="2419720"/>
            <a:ext cx="546520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C4B466F-C398-4662-0A40-BFDCD8262C5C}"/>
              </a:ext>
            </a:extLst>
          </p:cNvPr>
          <p:cNvCxnSpPr>
            <a:cxnSpLocks/>
          </p:cNvCxnSpPr>
          <p:nvPr/>
        </p:nvCxnSpPr>
        <p:spPr>
          <a:xfrm>
            <a:off x="8495500" y="3264491"/>
            <a:ext cx="546520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4761F54-6C6C-3133-F091-8E335269F84A}"/>
              </a:ext>
            </a:extLst>
          </p:cNvPr>
          <p:cNvCxnSpPr>
            <a:cxnSpLocks/>
          </p:cNvCxnSpPr>
          <p:nvPr/>
        </p:nvCxnSpPr>
        <p:spPr>
          <a:xfrm>
            <a:off x="8495500" y="4109262"/>
            <a:ext cx="546520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91A0062-C504-F98F-0360-0C50A282DE55}"/>
              </a:ext>
            </a:extLst>
          </p:cNvPr>
          <p:cNvCxnSpPr>
            <a:cxnSpLocks/>
          </p:cNvCxnSpPr>
          <p:nvPr/>
        </p:nvCxnSpPr>
        <p:spPr>
          <a:xfrm>
            <a:off x="8495500" y="4954033"/>
            <a:ext cx="546520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9">
            <a:extLst>
              <a:ext uri="{FF2B5EF4-FFF2-40B4-BE49-F238E27FC236}">
                <a16:creationId xmlns:a16="http://schemas.microsoft.com/office/drawing/2014/main" id="{2E35D605-CC3A-26C2-0C2A-C72604A733E6}"/>
              </a:ext>
            </a:extLst>
          </p:cNvPr>
          <p:cNvSpPr txBox="1">
            <a:spLocks/>
          </p:cNvSpPr>
          <p:nvPr/>
        </p:nvSpPr>
        <p:spPr>
          <a:xfrm>
            <a:off x="7772280" y="186312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1" name="Title 9">
            <a:extLst>
              <a:ext uri="{FF2B5EF4-FFF2-40B4-BE49-F238E27FC236}">
                <a16:creationId xmlns:a16="http://schemas.microsoft.com/office/drawing/2014/main" id="{4B2C04BC-286F-3C7F-FDEC-20ACBB0A8C15}"/>
              </a:ext>
            </a:extLst>
          </p:cNvPr>
          <p:cNvSpPr txBox="1">
            <a:spLocks/>
          </p:cNvSpPr>
          <p:nvPr/>
        </p:nvSpPr>
        <p:spPr>
          <a:xfrm>
            <a:off x="7772280" y="271852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14B06336-7327-C964-8D2C-527B45940FBC}"/>
              </a:ext>
            </a:extLst>
          </p:cNvPr>
          <p:cNvSpPr txBox="1">
            <a:spLocks/>
          </p:cNvSpPr>
          <p:nvPr/>
        </p:nvSpPr>
        <p:spPr>
          <a:xfrm>
            <a:off x="7772280" y="355221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129BDE67-5220-8F67-04CF-2F235A9702C5}"/>
              </a:ext>
            </a:extLst>
          </p:cNvPr>
          <p:cNvSpPr txBox="1">
            <a:spLocks/>
          </p:cNvSpPr>
          <p:nvPr/>
        </p:nvSpPr>
        <p:spPr>
          <a:xfrm>
            <a:off x="7772280" y="439698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C2E2455-EAEB-1EA4-BD15-2C41E3556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95500" y="1909130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6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0E5B660-0CC3-BF26-5916-82E3ADA2C1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95500" y="2753900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6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A930B824-518E-B601-E5BE-0ED4BF887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95500" y="3587784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6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567ADC4-8253-FC75-B797-5AD245806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95500" y="4443447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6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056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1367">
          <p15:clr>
            <a:srgbClr val="FBAE40"/>
          </p15:clr>
        </p15:guide>
        <p15:guide id="3" orient="horz" pos="105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2. Title-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2E69D04-59CC-264F-9000-EB549EA938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3513" y="2432521"/>
            <a:ext cx="4043373" cy="2905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60484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. Title-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A578C8FC-D2C5-BB48-9ACB-659290F3B7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3513" y="2432521"/>
            <a:ext cx="4043373" cy="2905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22151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2. Title-Logo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9FFBD0E-FD9E-8848-AD50-0F34A9003D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3513" y="2432521"/>
            <a:ext cx="4043373" cy="2905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28717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90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353423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90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329" b="32329"/>
          <a:stretch/>
        </p:blipFill>
        <p:spPr>
          <a:xfrm>
            <a:off x="-4327779" y="-1"/>
            <a:ext cx="23285960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89177" y="2371733"/>
            <a:ext cx="4852048" cy="3486136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2194BD-6A0C-FCC3-E5FF-33B8BFF22404}"/>
              </a:ext>
            </a:extLst>
          </p:cNvPr>
          <p:cNvCxnSpPr>
            <a:cxnSpLocks/>
          </p:cNvCxnSpPr>
          <p:nvPr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A2F9120-4EF5-53C5-0A3C-BCA4D61A1365}"/>
              </a:ext>
            </a:extLst>
          </p:cNvPr>
          <p:cNvSpPr txBox="1"/>
          <p:nvPr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81E246-BB91-FF3C-F1B5-443DAD88639E}"/>
              </a:ext>
            </a:extLst>
          </p:cNvPr>
          <p:cNvSpPr txBox="1"/>
          <p:nvPr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B84B0D-E7F8-F71D-A56B-2F7688800477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736C7A-8F0E-7F2E-3710-75C4B9DE78FB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F1FBC65D-3E37-1096-7840-8EE0A5DA1B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329" b="32329"/>
          <a:stretch/>
        </p:blipFill>
        <p:spPr>
          <a:xfrm>
            <a:off x="-4327779" y="-1"/>
            <a:ext cx="23285960" cy="822960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641A31A-0C15-96A9-2716-516D03FCA008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6C808B0-4FA7-CFA1-2D4A-197832A7F44B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F925E3E-CF36-8200-DCCE-EB14F7AB4D7B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992E53A-3E10-0EBB-B759-2CDA651EE314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610653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9600" y="3258528"/>
            <a:ext cx="3941445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52880" y="2822702"/>
            <a:ext cx="3426199" cy="246168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8E13D35-49BE-0F9A-E988-B1509449EEDC}"/>
              </a:ext>
            </a:extLst>
          </p:cNvPr>
          <p:cNvCxnSpPr>
            <a:cxnSpLocks/>
          </p:cNvCxnSpPr>
          <p:nvPr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C301B60-D07C-9E18-48E2-BAD4E8FB8826}"/>
              </a:ext>
            </a:extLst>
          </p:cNvPr>
          <p:cNvSpPr txBox="1"/>
          <p:nvPr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7A4E31-5F1F-1542-8A4A-FB3D5626A50D}"/>
              </a:ext>
            </a:extLst>
          </p:cNvPr>
          <p:cNvSpPr txBox="1"/>
          <p:nvPr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5D1788-7E0A-38F4-3FDB-FDF81C6F59BA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3007EC1-B5DE-B642-B0A5-67C456CF28A5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1DF5E5BB-CEDA-588F-3194-96170135C9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6E1798E4-E2BA-73C9-1F14-A61A218414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52880" y="2822702"/>
            <a:ext cx="3426199" cy="246168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59231F-F6ED-9DE2-DC54-A7DADC3DB9B0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0EEDD5-8A22-4E04-683D-43CC3C6BA7AE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B5D58A7-9944-B275-BD7C-EF9DBDCAB881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50E812-7E88-984A-CE0F-B21E3D63FAE3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885196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9600" y="3158897"/>
            <a:ext cx="3941445" cy="19992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4" name="Google Shape;101;p16">
            <a:extLst>
              <a:ext uri="{FF2B5EF4-FFF2-40B4-BE49-F238E27FC236}">
                <a16:creationId xmlns:a16="http://schemas.microsoft.com/office/drawing/2014/main" id="{9877002A-4F3A-E7A7-7265-49E111B971E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894460" y="3614059"/>
            <a:ext cx="4399535" cy="116556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07F5FC-876A-F468-E5E0-C63102A793AA}"/>
              </a:ext>
            </a:extLst>
          </p:cNvPr>
          <p:cNvCxnSpPr>
            <a:cxnSpLocks/>
          </p:cNvCxnSpPr>
          <p:nvPr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FF51128-CB71-AF4E-0555-90F85255DF15}"/>
              </a:ext>
            </a:extLst>
          </p:cNvPr>
          <p:cNvSpPr txBox="1"/>
          <p:nvPr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137B12-43BF-9E8C-D4BB-40CA769AE423}"/>
              </a:ext>
            </a:extLst>
          </p:cNvPr>
          <p:cNvSpPr txBox="1"/>
          <p:nvPr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8DD1F60-969C-0E61-D808-09249059C93B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ED66D1-70D9-003D-05DC-C37386E0736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3D5A1A9D-318F-84F7-B19E-EFDE5D4A3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6" name="Google Shape;101;p16">
            <a:extLst>
              <a:ext uri="{FF2B5EF4-FFF2-40B4-BE49-F238E27FC236}">
                <a16:creationId xmlns:a16="http://schemas.microsoft.com/office/drawing/2014/main" id="{D48A4768-4FFA-8747-AB81-078EE0382C48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894460" y="3614059"/>
            <a:ext cx="4399535" cy="116556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6C86FE3-9199-1468-59C8-29C7C4435D0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6747144-2E3E-07B3-85E9-4E1A02EBA9EB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D37CBDC-F895-958E-D567-6F290CAEC100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FCA713-6FA4-2D54-34D0-FACD69625228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7861955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781" t="35478" r="11588" b="35478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049" y="3325274"/>
            <a:ext cx="6105979" cy="191372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3" name="Google Shape;101;p16">
            <a:extLst>
              <a:ext uri="{FF2B5EF4-FFF2-40B4-BE49-F238E27FC236}">
                <a16:creationId xmlns:a16="http://schemas.microsoft.com/office/drawing/2014/main" id="{D752E41C-C841-655F-A925-A8661D6282A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469919" y="2143849"/>
            <a:ext cx="3042064" cy="8059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1BB3536-B125-5971-5695-2B15824DC225}"/>
              </a:ext>
            </a:extLst>
          </p:cNvPr>
          <p:cNvCxnSpPr>
            <a:cxnSpLocks/>
          </p:cNvCxnSpPr>
          <p:nvPr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F9A903A-25AE-81EC-3F0D-85BDE8710ACE}"/>
              </a:ext>
            </a:extLst>
          </p:cNvPr>
          <p:cNvSpPr txBox="1"/>
          <p:nvPr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034928-B662-9F21-560E-D1F1E737044B}"/>
              </a:ext>
            </a:extLst>
          </p:cNvPr>
          <p:cNvSpPr txBox="1"/>
          <p:nvPr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97A4ACC-C267-50F6-B760-542EF08E38DA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2C302C6-491C-4652-EFC0-B157AAE5CFE0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426D7FDE-3ABE-1676-418B-B3C2958196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781" t="35478" r="11588" b="35478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6" name="Google Shape;101;p16">
            <a:extLst>
              <a:ext uri="{FF2B5EF4-FFF2-40B4-BE49-F238E27FC236}">
                <a16:creationId xmlns:a16="http://schemas.microsoft.com/office/drawing/2014/main" id="{D73C6E55-BAAF-718A-2D92-E7EF14D4EB34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469919" y="2143849"/>
            <a:ext cx="3042064" cy="8059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F43525A-1A37-7953-63B0-91398571F77C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9182E65-A043-B0A2-0678-2E59E13CBCE4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4A292ED-691D-8029-BEA6-D71CD2CDB7C7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608E49-BEBE-7FA9-7C31-631118BE125E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4598996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/>
        </p:nvSpPr>
        <p:spPr>
          <a:xfrm>
            <a:off x="-1" y="0"/>
            <a:ext cx="9487437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1ED612-7755-BDB6-0158-DB037C5FF17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0" y="-1"/>
            <a:ext cx="12590855" cy="8229601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4E2A8BB-313A-7F7C-EBA3-3C5248E77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50" y="500350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165874E-37DE-E633-CB21-9E9B3CF44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35B04A97-FCD6-50CC-AB58-B97CF65E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3271810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C72D8B3E-E004-AF6D-4C75-D32640D1F0B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60E86110-134A-0CA7-ED47-7BEF60FF71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AEFC384-7A6A-4950-86A7-692B109175E2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5EA6FF-D8ED-4BA7-EE00-BA8323133EEE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C67A9334-47AE-7D54-3EB5-73F49DFE84CE}"/>
              </a:ext>
            </a:extLst>
          </p:cNvPr>
          <p:cNvSpPr/>
          <p:nvPr userDrawn="1"/>
        </p:nvSpPr>
        <p:spPr>
          <a:xfrm>
            <a:off x="-1" y="0"/>
            <a:ext cx="9487437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0F324A6-430B-532D-4172-643143259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0" y="-1"/>
            <a:ext cx="12590855" cy="8229601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B677E2F-43F6-DA0D-E6DE-08B9D0035F5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3">
            <a:extLst>
              <a:ext uri="{FF2B5EF4-FFF2-40B4-BE49-F238E27FC236}">
                <a16:creationId xmlns:a16="http://schemas.microsoft.com/office/drawing/2014/main" id="{9633F2BA-ADA4-E151-C022-F9D320CA850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26875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2686B64-E0AA-5C66-8624-60C29255741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494588" cy="4114800"/>
          </a:xfrm>
          <a:prstGeom prst="rect">
            <a:avLst/>
          </a:prstGeom>
          <a:solidFill>
            <a:schemeClr val="tx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1ED612-7755-BDB6-0158-DB037C5FF17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0" y="-1"/>
            <a:ext cx="12590855" cy="8229601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4E2A8BB-313A-7F7C-EBA3-3C5248E77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50" y="665901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35B04A97-FCD6-50CC-AB58-B97CF65E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4927321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C72D8B3E-E004-AF6D-4C75-D32640D1F0B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C48B77-DE6A-E4C4-DAEE-30B8F130C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C5C54B9-BC33-4775-13B7-7CCEC1EFBB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28676" y="29274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© 2024 MEDECISION, INC. PROPRIETARY AND CONFIDENTI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B18CA32-3DAD-76AE-1206-B4537FFE2CD3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9B4A9B9-9391-8607-29FB-39CA25EED6D0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BA7ECAC6-367E-0846-A4B0-89CA03B79EDA}"/>
              </a:ext>
            </a:extLst>
          </p:cNvPr>
          <p:cNvSpPr/>
          <p:nvPr userDrawn="1"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2CB3682-D466-8987-DCD2-2DD0996703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0" y="-1"/>
            <a:ext cx="12590855" cy="822960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54D0295-326E-3179-8286-AED45FE6716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3">
            <a:extLst>
              <a:ext uri="{FF2B5EF4-FFF2-40B4-BE49-F238E27FC236}">
                <a16:creationId xmlns:a16="http://schemas.microsoft.com/office/drawing/2014/main" id="{DA0D6CAF-4B16-15BB-2C1E-569EC6FFA5D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056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F450BD-C944-0A21-D2D2-19B48F0233E4}"/>
              </a:ext>
            </a:extLst>
          </p:cNvPr>
          <p:cNvSpPr/>
          <p:nvPr userDrawn="1"/>
        </p:nvSpPr>
        <p:spPr>
          <a:xfrm>
            <a:off x="-1" y="1"/>
            <a:ext cx="7481596" cy="8229551"/>
          </a:xfrm>
          <a:prstGeom prst="rect">
            <a:avLst/>
          </a:prstGeom>
          <a:solidFill>
            <a:srgbClr val="EFEFEF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C2E2455-EAEB-1EA4-BD15-2C41E3556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7413" y="2213519"/>
            <a:ext cx="5465202" cy="571878"/>
          </a:xfrm>
          <a:prstGeom prst="rect">
            <a:avLst/>
          </a:prstGeom>
        </p:spPr>
        <p:txBody>
          <a:bodyPr bIns="72000" anchor="ctr"/>
          <a:lstStyle>
            <a:lvl1pPr marL="0" indent="0">
              <a:buNone/>
              <a:defRPr sz="17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0E5B660-0CC3-BF26-5916-82E3ADA2C1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7413" y="3653266"/>
            <a:ext cx="5465202" cy="571878"/>
          </a:xfrm>
          <a:prstGeom prst="rect">
            <a:avLst/>
          </a:prstGeom>
        </p:spPr>
        <p:txBody>
          <a:bodyPr bIns="72000" anchor="ctr"/>
          <a:lstStyle>
            <a:lvl1pPr marL="0" indent="0">
              <a:buNone/>
              <a:defRPr sz="17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A930B824-518E-B601-E5BE-0ED4BF887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7413" y="5094035"/>
            <a:ext cx="5465202" cy="571536"/>
          </a:xfrm>
          <a:prstGeom prst="rect">
            <a:avLst/>
          </a:prstGeom>
        </p:spPr>
        <p:txBody>
          <a:bodyPr bIns="72000" anchor="ctr"/>
          <a:lstStyle>
            <a:lvl1pPr marL="0" indent="0">
              <a:buNone/>
              <a:defRPr sz="17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567ADC4-8253-FC75-B797-5AD245806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27413" y="6533779"/>
            <a:ext cx="5465202" cy="571878"/>
          </a:xfrm>
          <a:prstGeom prst="rect">
            <a:avLst/>
          </a:prstGeom>
        </p:spPr>
        <p:txBody>
          <a:bodyPr bIns="72000" anchor="ctr"/>
          <a:lstStyle>
            <a:lvl1pPr marL="0" indent="0">
              <a:buNone/>
              <a:defRPr sz="17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50C7DE6-44AE-63FF-7290-EAEA4D45E8BA}"/>
              </a:ext>
            </a:extLst>
          </p:cNvPr>
          <p:cNvCxnSpPr>
            <a:cxnSpLocks/>
          </p:cNvCxnSpPr>
          <p:nvPr userDrawn="1"/>
        </p:nvCxnSpPr>
        <p:spPr>
          <a:xfrm>
            <a:off x="7481594" y="2756706"/>
            <a:ext cx="0" cy="4307714"/>
          </a:xfrm>
          <a:prstGeom prst="line">
            <a:avLst/>
          </a:prstGeom>
          <a:ln w="2540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00501753-1014-5B3F-0900-5C7BFCC78BF2}"/>
              </a:ext>
            </a:extLst>
          </p:cNvPr>
          <p:cNvSpPr/>
          <p:nvPr userDrawn="1"/>
        </p:nvSpPr>
        <p:spPr>
          <a:xfrm>
            <a:off x="7211410" y="2213522"/>
            <a:ext cx="571878" cy="5718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1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BCB3E50-3706-1843-7D56-523F445C4774}"/>
              </a:ext>
            </a:extLst>
          </p:cNvPr>
          <p:cNvSpPr/>
          <p:nvPr userDrawn="1"/>
        </p:nvSpPr>
        <p:spPr>
          <a:xfrm>
            <a:off x="7211410" y="3653608"/>
            <a:ext cx="571878" cy="5718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2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F5356C-094F-A175-13A3-89497E2765B9}"/>
              </a:ext>
            </a:extLst>
          </p:cNvPr>
          <p:cNvSpPr/>
          <p:nvPr userDrawn="1"/>
        </p:nvSpPr>
        <p:spPr>
          <a:xfrm>
            <a:off x="7211410" y="5093693"/>
            <a:ext cx="571878" cy="5718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B0DCB18-4229-C3ED-F2D4-57EE2EFEC218}"/>
              </a:ext>
            </a:extLst>
          </p:cNvPr>
          <p:cNvSpPr/>
          <p:nvPr userDrawn="1"/>
        </p:nvSpPr>
        <p:spPr>
          <a:xfrm>
            <a:off x="7211410" y="6533779"/>
            <a:ext cx="571878" cy="5718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03435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1367">
          <p15:clr>
            <a:srgbClr val="FBAE40"/>
          </p15:clr>
        </p15:guide>
        <p15:guide id="3" orient="horz" pos="105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0509014-F702-55A0-5543-BD155D6ACD1A}"/>
              </a:ext>
            </a:extLst>
          </p:cNvPr>
          <p:cNvGrpSpPr/>
          <p:nvPr/>
        </p:nvGrpSpPr>
        <p:grpSpPr>
          <a:xfrm>
            <a:off x="8495500" y="2419720"/>
            <a:ext cx="5465202" cy="4760410"/>
            <a:chOff x="607701" y="3476848"/>
            <a:chExt cx="10976598" cy="254726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9CE615-BF00-B94F-3F1C-0F5FE0D35ACD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3476848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C4B466F-C398-4662-0A40-BFDCD8262C5C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3901391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4761F54-6C6C-3133-F091-8E335269F84A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4325934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91A0062-C504-F98F-0360-0C50A282DE5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4750477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50EE34D-25A5-0F96-3B9C-42AE8FD2DA4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5175020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81B3934-40D0-0F2A-965C-FE370C8DBE4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5599564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F6F4437-9138-D836-136D-0291A8A0C252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6024108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itle 9">
            <a:extLst>
              <a:ext uri="{FF2B5EF4-FFF2-40B4-BE49-F238E27FC236}">
                <a16:creationId xmlns:a16="http://schemas.microsoft.com/office/drawing/2014/main" id="{2E35D605-CC3A-26C2-0C2A-C72604A733E6}"/>
              </a:ext>
            </a:extLst>
          </p:cNvPr>
          <p:cNvSpPr txBox="1">
            <a:spLocks/>
          </p:cNvSpPr>
          <p:nvPr/>
        </p:nvSpPr>
        <p:spPr>
          <a:xfrm>
            <a:off x="7772280" y="186312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1" name="Title 9">
            <a:extLst>
              <a:ext uri="{FF2B5EF4-FFF2-40B4-BE49-F238E27FC236}">
                <a16:creationId xmlns:a16="http://schemas.microsoft.com/office/drawing/2014/main" id="{4B2C04BC-286F-3C7F-FDEC-20ACBB0A8C15}"/>
              </a:ext>
            </a:extLst>
          </p:cNvPr>
          <p:cNvSpPr txBox="1">
            <a:spLocks/>
          </p:cNvSpPr>
          <p:nvPr/>
        </p:nvSpPr>
        <p:spPr>
          <a:xfrm>
            <a:off x="7772280" y="266715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14B06336-7327-C964-8D2C-527B45940FBC}"/>
              </a:ext>
            </a:extLst>
          </p:cNvPr>
          <p:cNvSpPr txBox="1">
            <a:spLocks/>
          </p:cNvSpPr>
          <p:nvPr/>
        </p:nvSpPr>
        <p:spPr>
          <a:xfrm>
            <a:off x="7772280" y="34494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129BDE67-5220-8F67-04CF-2F235A9702C5}"/>
              </a:ext>
            </a:extLst>
          </p:cNvPr>
          <p:cNvSpPr txBox="1">
            <a:spLocks/>
          </p:cNvSpPr>
          <p:nvPr/>
        </p:nvSpPr>
        <p:spPr>
          <a:xfrm>
            <a:off x="7772280" y="42428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Title 9">
            <a:extLst>
              <a:ext uri="{FF2B5EF4-FFF2-40B4-BE49-F238E27FC236}">
                <a16:creationId xmlns:a16="http://schemas.microsoft.com/office/drawing/2014/main" id="{A53E5A64-B4CF-2AE8-EDEE-53D9921140CF}"/>
              </a:ext>
            </a:extLst>
          </p:cNvPr>
          <p:cNvSpPr txBox="1">
            <a:spLocks/>
          </p:cNvSpPr>
          <p:nvPr/>
        </p:nvSpPr>
        <p:spPr>
          <a:xfrm>
            <a:off x="7772280" y="5025390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FCFF54C-69F4-4C1B-0641-81FB892DCB95}"/>
              </a:ext>
            </a:extLst>
          </p:cNvPr>
          <p:cNvSpPr txBox="1">
            <a:spLocks/>
          </p:cNvSpPr>
          <p:nvPr/>
        </p:nvSpPr>
        <p:spPr>
          <a:xfrm>
            <a:off x="7772280" y="5822341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26" name="Title 9">
            <a:extLst>
              <a:ext uri="{FF2B5EF4-FFF2-40B4-BE49-F238E27FC236}">
                <a16:creationId xmlns:a16="http://schemas.microsoft.com/office/drawing/2014/main" id="{B188F769-DBB7-AA4C-1F19-796B06D67192}"/>
              </a:ext>
            </a:extLst>
          </p:cNvPr>
          <p:cNvSpPr txBox="1">
            <a:spLocks/>
          </p:cNvSpPr>
          <p:nvPr/>
        </p:nvSpPr>
        <p:spPr>
          <a:xfrm>
            <a:off x="7772280" y="6625111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7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C2E2455-EAEB-1EA4-BD15-2C41E3556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95500" y="1909130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0E5B660-0CC3-BF26-5916-82E3ADA2C1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95500" y="2702530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A930B824-518E-B601-E5BE-0ED4BF887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95500" y="3485044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567ADC4-8253-FC75-B797-5AD245806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95500" y="4289337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FBCB11E1-87EB-B5AA-AE81-604A376C69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95500" y="5070240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699CE10C-6801-26BA-3FE5-7451D1B640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95500" y="5871689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2441104-FC64-EFE0-FBAA-9132FB9865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95500" y="6665091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507E85C-02AF-F76E-CBB0-7BE3491FF1D4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FEBF68A9-8AD4-94C8-FCFE-E2D2F12996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8" name="Title 9">
            <a:extLst>
              <a:ext uri="{FF2B5EF4-FFF2-40B4-BE49-F238E27FC236}">
                <a16:creationId xmlns:a16="http://schemas.microsoft.com/office/drawing/2014/main" id="{0D7AA03F-4E6D-F88E-CF42-BD9405EC5A0C}"/>
              </a:ext>
            </a:extLst>
          </p:cNvPr>
          <p:cNvSpPr txBox="1">
            <a:spLocks/>
          </p:cNvSpPr>
          <p:nvPr userDrawn="1"/>
        </p:nvSpPr>
        <p:spPr>
          <a:xfrm>
            <a:off x="7772280" y="186312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9" name="Title 9">
            <a:extLst>
              <a:ext uri="{FF2B5EF4-FFF2-40B4-BE49-F238E27FC236}">
                <a16:creationId xmlns:a16="http://schemas.microsoft.com/office/drawing/2014/main" id="{E0F60996-C89F-F066-F3C5-557D16155F51}"/>
              </a:ext>
            </a:extLst>
          </p:cNvPr>
          <p:cNvSpPr txBox="1">
            <a:spLocks/>
          </p:cNvSpPr>
          <p:nvPr userDrawn="1"/>
        </p:nvSpPr>
        <p:spPr>
          <a:xfrm>
            <a:off x="7772280" y="266715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1" name="Title 9">
            <a:extLst>
              <a:ext uri="{FF2B5EF4-FFF2-40B4-BE49-F238E27FC236}">
                <a16:creationId xmlns:a16="http://schemas.microsoft.com/office/drawing/2014/main" id="{24D71618-5727-A0A5-D402-6DA95DAD4C5B}"/>
              </a:ext>
            </a:extLst>
          </p:cNvPr>
          <p:cNvSpPr txBox="1">
            <a:spLocks/>
          </p:cNvSpPr>
          <p:nvPr userDrawn="1"/>
        </p:nvSpPr>
        <p:spPr>
          <a:xfrm>
            <a:off x="7772280" y="34494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976027B5-6DD1-06D2-5E24-DD886AA49352}"/>
              </a:ext>
            </a:extLst>
          </p:cNvPr>
          <p:cNvSpPr txBox="1">
            <a:spLocks/>
          </p:cNvSpPr>
          <p:nvPr userDrawn="1"/>
        </p:nvSpPr>
        <p:spPr>
          <a:xfrm>
            <a:off x="7772280" y="42428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51509816-BEFF-A4B6-034E-7DD95364EABF}"/>
              </a:ext>
            </a:extLst>
          </p:cNvPr>
          <p:cNvSpPr txBox="1">
            <a:spLocks/>
          </p:cNvSpPr>
          <p:nvPr userDrawn="1"/>
        </p:nvSpPr>
        <p:spPr>
          <a:xfrm>
            <a:off x="7772280" y="5025390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6" name="Title 9">
            <a:extLst>
              <a:ext uri="{FF2B5EF4-FFF2-40B4-BE49-F238E27FC236}">
                <a16:creationId xmlns:a16="http://schemas.microsoft.com/office/drawing/2014/main" id="{503545AA-FC83-F801-E442-A5D53ED48D23}"/>
              </a:ext>
            </a:extLst>
          </p:cNvPr>
          <p:cNvSpPr txBox="1">
            <a:spLocks/>
          </p:cNvSpPr>
          <p:nvPr userDrawn="1"/>
        </p:nvSpPr>
        <p:spPr>
          <a:xfrm>
            <a:off x="7772280" y="5822341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38" name="Title 9">
            <a:extLst>
              <a:ext uri="{FF2B5EF4-FFF2-40B4-BE49-F238E27FC236}">
                <a16:creationId xmlns:a16="http://schemas.microsoft.com/office/drawing/2014/main" id="{60FC1295-B814-1C0A-ED6D-2A87C6D6A5B3}"/>
              </a:ext>
            </a:extLst>
          </p:cNvPr>
          <p:cNvSpPr txBox="1">
            <a:spLocks/>
          </p:cNvSpPr>
          <p:nvPr userDrawn="1"/>
        </p:nvSpPr>
        <p:spPr>
          <a:xfrm>
            <a:off x="7772280" y="6625111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940030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69">
          <p15:clr>
            <a:srgbClr val="FBAE40"/>
          </p15:clr>
        </p15:guide>
        <p15:guide id="5" orient="horz" pos="1367">
          <p15:clr>
            <a:srgbClr val="FBAE40"/>
          </p15:clr>
        </p15:guide>
        <p15:guide id="6" orient="horz" pos="105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0509014-F702-55A0-5543-BD155D6ACD1A}"/>
              </a:ext>
            </a:extLst>
          </p:cNvPr>
          <p:cNvGrpSpPr/>
          <p:nvPr/>
        </p:nvGrpSpPr>
        <p:grpSpPr>
          <a:xfrm>
            <a:off x="8495500" y="2419720"/>
            <a:ext cx="5465202" cy="2380203"/>
            <a:chOff x="607701" y="3476848"/>
            <a:chExt cx="10976598" cy="1273629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9CE615-BF00-B94F-3F1C-0F5FE0D35ACD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3476848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C4B466F-C398-4662-0A40-BFDCD8262C5C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3901391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4761F54-6C6C-3133-F091-8E335269F84A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4325934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91A0062-C504-F98F-0360-0C50A282DE5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4750477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itle 9">
            <a:extLst>
              <a:ext uri="{FF2B5EF4-FFF2-40B4-BE49-F238E27FC236}">
                <a16:creationId xmlns:a16="http://schemas.microsoft.com/office/drawing/2014/main" id="{2E35D605-CC3A-26C2-0C2A-C72604A733E6}"/>
              </a:ext>
            </a:extLst>
          </p:cNvPr>
          <p:cNvSpPr txBox="1">
            <a:spLocks/>
          </p:cNvSpPr>
          <p:nvPr/>
        </p:nvSpPr>
        <p:spPr>
          <a:xfrm>
            <a:off x="7772280" y="186312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1" name="Title 9">
            <a:extLst>
              <a:ext uri="{FF2B5EF4-FFF2-40B4-BE49-F238E27FC236}">
                <a16:creationId xmlns:a16="http://schemas.microsoft.com/office/drawing/2014/main" id="{4B2C04BC-286F-3C7F-FDEC-20ACBB0A8C15}"/>
              </a:ext>
            </a:extLst>
          </p:cNvPr>
          <p:cNvSpPr txBox="1">
            <a:spLocks/>
          </p:cNvSpPr>
          <p:nvPr/>
        </p:nvSpPr>
        <p:spPr>
          <a:xfrm>
            <a:off x="7772280" y="266715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14B06336-7327-C964-8D2C-527B45940FBC}"/>
              </a:ext>
            </a:extLst>
          </p:cNvPr>
          <p:cNvSpPr txBox="1">
            <a:spLocks/>
          </p:cNvSpPr>
          <p:nvPr/>
        </p:nvSpPr>
        <p:spPr>
          <a:xfrm>
            <a:off x="7772280" y="34494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129BDE67-5220-8F67-04CF-2F235A9702C5}"/>
              </a:ext>
            </a:extLst>
          </p:cNvPr>
          <p:cNvSpPr txBox="1">
            <a:spLocks/>
          </p:cNvSpPr>
          <p:nvPr/>
        </p:nvSpPr>
        <p:spPr>
          <a:xfrm>
            <a:off x="7772280" y="42428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C2E2455-EAEB-1EA4-BD15-2C41E3556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95500" y="1909130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0E5B660-0CC3-BF26-5916-82E3ADA2C1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95500" y="2702530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A930B824-518E-B601-E5BE-0ED4BF887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95500" y="3485044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567ADC4-8253-FC75-B797-5AD245806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95500" y="4289337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76297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1367">
          <p15:clr>
            <a:srgbClr val="FBAE40"/>
          </p15:clr>
        </p15:guide>
        <p15:guide id="3" orient="horz" pos="105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947025" y="2079486"/>
            <a:ext cx="6013450" cy="5275402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9A1416D-0B43-CD77-F7A7-757FE8367191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470CD58B-3E91-B4A6-F3AA-875D58012D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790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76947D55-0EAE-DEF6-30FD-A190B1CFBC9F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7946798" y="2079625"/>
            <a:ext cx="6024789" cy="52752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8FD5B44-452F-6D4E-A374-E3062CECCD0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0B1A83BF-44B8-0B84-44AA-B4C23A4477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51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75B4B13-DDB3-15ED-82AA-312C299230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68755D60-2478-2C7E-D5A9-2AF7FCA26E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245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669471-AD8C-E64F-BEAB-1F746286C3D0}"/>
              </a:ext>
            </a:extLst>
          </p:cNvPr>
          <p:cNvSpPr/>
          <p:nvPr userDrawn="1"/>
        </p:nvSpPr>
        <p:spPr>
          <a:xfrm>
            <a:off x="7772400" y="0"/>
            <a:ext cx="6858000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Arial" charset="0"/>
              <a:cs typeface="Arial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75B4B13-DDB3-15ED-82AA-312C299230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68755D60-2478-2C7E-D5A9-2AF7FCA26E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pic>
        <p:nvPicPr>
          <p:cNvPr id="8" name="Picture 7" descr="A diagram of a patient population&#10;&#10;Description automatically generated">
            <a:extLst>
              <a:ext uri="{FF2B5EF4-FFF2-40B4-BE49-F238E27FC236}">
                <a16:creationId xmlns:a16="http://schemas.microsoft.com/office/drawing/2014/main" id="{49BDE5BF-31E3-974F-039D-0D3DA6AA98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173725"/>
            <a:ext cx="7770590" cy="305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078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able Placeholder 6">
            <a:extLst>
              <a:ext uri="{FF2B5EF4-FFF2-40B4-BE49-F238E27FC236}">
                <a16:creationId xmlns:a16="http://schemas.microsoft.com/office/drawing/2014/main" id="{C5C37120-1629-7434-5296-100D28361439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7935913" y="2079487"/>
            <a:ext cx="6024562" cy="52754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614B05C-31EB-C6F9-8D42-241142B2C2A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34E1ECD2-7022-ECE1-E346-0F682A769F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836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704230"/>
            <a:ext cx="6481763" cy="36506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9861" y="134898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789862" y="1858675"/>
            <a:ext cx="6181725" cy="2256126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4345463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4855156"/>
            <a:ext cx="6181725" cy="248678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11CB41-68A1-486E-E3C6-F22CDC3CB189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FE6C30-147D-C3D2-8B43-B705E4AF3424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3">
            <a:extLst>
              <a:ext uri="{FF2B5EF4-FFF2-40B4-BE49-F238E27FC236}">
                <a16:creationId xmlns:a16="http://schemas.microsoft.com/office/drawing/2014/main" id="{AF20214B-BCD2-BEC9-1FB8-B586FD5011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832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/>
        </p:nvSpPr>
        <p:spPr>
          <a:xfrm>
            <a:off x="-2381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49" y="2973724"/>
            <a:ext cx="6481763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48981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483428"/>
            <a:ext cx="6492876" cy="127764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9861" y="134898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5361763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5970294"/>
            <a:ext cx="2942305" cy="1384594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FD6E937-4DCD-1638-3553-74F7FD7BC5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4049" y="5577515"/>
            <a:ext cx="6481763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C0EA3B8-BF3B-5B88-5AD0-C8BEADC0E8E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937" y="6087219"/>
            <a:ext cx="6492876" cy="127764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4AAFA22-15CC-3A99-E41A-44E24C05E17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018397" y="5970294"/>
            <a:ext cx="2942305" cy="1384594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B25EE8C-1276-DF31-C1E0-19AFFC37982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789862" y="1957511"/>
            <a:ext cx="2942305" cy="311882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41C3A3B7-3A69-579C-A396-6FF71E1F61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018397" y="1957511"/>
            <a:ext cx="2942305" cy="311882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C75B33-3C2C-405D-EBA8-6E7B2821C468}"/>
              </a:ext>
            </a:extLst>
          </p:cNvPr>
          <p:cNvSpPr/>
          <p:nvPr userDrawn="1"/>
        </p:nvSpPr>
        <p:spPr>
          <a:xfrm>
            <a:off x="-2381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0741A55-6CDF-886B-3E44-1EBD925B4300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3">
            <a:extLst>
              <a:ext uri="{FF2B5EF4-FFF2-40B4-BE49-F238E27FC236}">
                <a16:creationId xmlns:a16="http://schemas.microsoft.com/office/drawing/2014/main" id="{86381FA9-5728-90A8-CE23-1F3E8C6222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273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35120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5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29"/>
            <a:ext cx="6181725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B6308D7-8D9D-2355-2F74-E99C9BF8DED0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D8F0940-0645-9EF6-9FDD-3136F68C38D2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3">
            <a:extLst>
              <a:ext uri="{FF2B5EF4-FFF2-40B4-BE49-F238E27FC236}">
                <a16:creationId xmlns:a16="http://schemas.microsoft.com/office/drawing/2014/main" id="{CB888934-3CC7-B1E2-7956-35816FDB22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198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F9CE615-BF00-B94F-3F1C-0F5FE0D35ACD}"/>
              </a:ext>
            </a:extLst>
          </p:cNvPr>
          <p:cNvCxnSpPr>
            <a:cxnSpLocks/>
          </p:cNvCxnSpPr>
          <p:nvPr/>
        </p:nvCxnSpPr>
        <p:spPr>
          <a:xfrm>
            <a:off x="5140172" y="5237808"/>
            <a:ext cx="370515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9">
            <a:extLst>
              <a:ext uri="{FF2B5EF4-FFF2-40B4-BE49-F238E27FC236}">
                <a16:creationId xmlns:a16="http://schemas.microsoft.com/office/drawing/2014/main" id="{4B2C04BC-286F-3C7F-FDEC-20ACBB0A8C15}"/>
              </a:ext>
            </a:extLst>
          </p:cNvPr>
          <p:cNvSpPr txBox="1">
            <a:spLocks/>
          </p:cNvSpPr>
          <p:nvPr/>
        </p:nvSpPr>
        <p:spPr>
          <a:xfrm>
            <a:off x="9701572" y="4562373"/>
            <a:ext cx="1807600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6000" dirty="0">
                <a:solidFill>
                  <a:schemeClr val="bg2"/>
                </a:solidFill>
                <a:latin typeface="Arial" panose="020B0604020202020204" pitchFamily="34" charset="0"/>
              </a:rPr>
              <a:t>02</a:t>
            </a:r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129BDE67-5220-8F67-04CF-2F235A9702C5}"/>
              </a:ext>
            </a:extLst>
          </p:cNvPr>
          <p:cNvSpPr txBox="1">
            <a:spLocks/>
          </p:cNvSpPr>
          <p:nvPr/>
        </p:nvSpPr>
        <p:spPr>
          <a:xfrm>
            <a:off x="9732197" y="5927368"/>
            <a:ext cx="1796570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6000" dirty="0">
                <a:solidFill>
                  <a:schemeClr val="bg2"/>
                </a:solidFill>
                <a:latin typeface="Arial" panose="020B0604020202020204" pitchFamily="34" charset="0"/>
              </a:rPr>
              <a:t>04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C2E2455-EAEB-1EA4-BD15-2C41E3556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40170" y="5242929"/>
            <a:ext cx="3411578" cy="441754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9">
            <a:extLst>
              <a:ext uri="{FF2B5EF4-FFF2-40B4-BE49-F238E27FC236}">
                <a16:creationId xmlns:a16="http://schemas.microsoft.com/office/drawing/2014/main" id="{940D74BA-CD10-ABA9-41DC-FAAC0A5F72A9}"/>
              </a:ext>
            </a:extLst>
          </p:cNvPr>
          <p:cNvSpPr txBox="1">
            <a:spLocks/>
          </p:cNvSpPr>
          <p:nvPr userDrawn="1"/>
        </p:nvSpPr>
        <p:spPr>
          <a:xfrm>
            <a:off x="5039516" y="4559440"/>
            <a:ext cx="1807600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6000" dirty="0">
                <a:solidFill>
                  <a:schemeClr val="bg2"/>
                </a:solidFill>
                <a:latin typeface="Arial" panose="020B0604020202020204" pitchFamily="34" charset="0"/>
              </a:rPr>
              <a:t>01</a:t>
            </a:r>
          </a:p>
        </p:txBody>
      </p:sp>
      <p:sp>
        <p:nvSpPr>
          <p:cNvPr id="8" name="Title 9">
            <a:extLst>
              <a:ext uri="{FF2B5EF4-FFF2-40B4-BE49-F238E27FC236}">
                <a16:creationId xmlns:a16="http://schemas.microsoft.com/office/drawing/2014/main" id="{A5EDA849-6CC5-1CDC-C0C1-F7C8A628ED7A}"/>
              </a:ext>
            </a:extLst>
          </p:cNvPr>
          <p:cNvSpPr txBox="1">
            <a:spLocks/>
          </p:cNvSpPr>
          <p:nvPr userDrawn="1"/>
        </p:nvSpPr>
        <p:spPr>
          <a:xfrm>
            <a:off x="5039515" y="5993266"/>
            <a:ext cx="1796570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US" sz="6000" dirty="0">
                <a:solidFill>
                  <a:schemeClr val="bg2"/>
                </a:solidFill>
                <a:latin typeface="Arial" panose="020B0604020202020204" pitchFamily="34" charset="0"/>
              </a:rPr>
              <a:t>03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0B399F7-F62D-E12D-3DE2-E2997E9E5F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3382" y="5238416"/>
            <a:ext cx="3411578" cy="441754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5385245-C984-B02E-EC93-19B7DB4B554F}"/>
              </a:ext>
            </a:extLst>
          </p:cNvPr>
          <p:cNvCxnSpPr>
            <a:cxnSpLocks/>
          </p:cNvCxnSpPr>
          <p:nvPr userDrawn="1"/>
        </p:nvCxnSpPr>
        <p:spPr>
          <a:xfrm>
            <a:off x="5141326" y="6662161"/>
            <a:ext cx="370515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DE7AB44-638C-C9B3-61C8-D38BE3BB75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41325" y="6667283"/>
            <a:ext cx="3411578" cy="441754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B0A56BD-2008-EA8B-1876-BF2371FA5D33}"/>
              </a:ext>
            </a:extLst>
          </p:cNvPr>
          <p:cNvCxnSpPr>
            <a:cxnSpLocks/>
          </p:cNvCxnSpPr>
          <p:nvPr userDrawn="1"/>
        </p:nvCxnSpPr>
        <p:spPr>
          <a:xfrm>
            <a:off x="9803384" y="6651920"/>
            <a:ext cx="370515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36F4385-314C-B84C-6DB0-AF55EEBB64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03382" y="6657041"/>
            <a:ext cx="3411578" cy="441754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3589E6C-3EE8-72CF-B001-E7A594419F2A}"/>
              </a:ext>
            </a:extLst>
          </p:cNvPr>
          <p:cNvCxnSpPr>
            <a:cxnSpLocks/>
          </p:cNvCxnSpPr>
          <p:nvPr userDrawn="1"/>
        </p:nvCxnSpPr>
        <p:spPr>
          <a:xfrm>
            <a:off x="9803384" y="5237808"/>
            <a:ext cx="370515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008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1367">
          <p15:clr>
            <a:srgbClr val="FBAE40"/>
          </p15:clr>
        </p15:guide>
        <p15:guide id="3" orient="horz" pos="105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35120"/>
            <a:ext cx="13306652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5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29"/>
            <a:ext cx="6181725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E4AD018-C8E2-68D1-2986-8F4AE0A41ECA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3">
            <a:extLst>
              <a:ext uri="{FF2B5EF4-FFF2-40B4-BE49-F238E27FC236}">
                <a16:creationId xmlns:a16="http://schemas.microsoft.com/office/drawing/2014/main" id="{B6261AF9-A8D9-3DA6-AA72-5BBD1F1D87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109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5CC48F4-1382-A431-B6A5-128C98B3607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4614" t="32918" r="25019" b="32918"/>
          <a:stretch/>
        </p:blipFill>
        <p:spPr>
          <a:xfrm>
            <a:off x="0" y="-1"/>
            <a:ext cx="7315200" cy="8229601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5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29"/>
            <a:ext cx="6181725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35120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F2AE71EE-DE37-25FC-7367-FD8DB069336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923DB61-3194-E269-BAC3-50C7C95C5541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004263E-B111-25AD-C5B9-AAFBAD5594E9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61E0D5FD-EED9-972A-2948-3D35036A393B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00E0F6A-AB8A-D086-F59D-A4B44C5DB1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4614" t="32918" r="25019" b="32918"/>
          <a:stretch/>
        </p:blipFill>
        <p:spPr>
          <a:xfrm>
            <a:off x="0" y="-1"/>
            <a:ext cx="7315200" cy="822960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4853-1AD0-94B8-C382-CC92751D04B3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3">
            <a:extLst>
              <a:ext uri="{FF2B5EF4-FFF2-40B4-BE49-F238E27FC236}">
                <a16:creationId xmlns:a16="http://schemas.microsoft.com/office/drawing/2014/main" id="{706B3943-1266-DE65-C45E-B51E452869D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163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pic>
        <p:nvPicPr>
          <p:cNvPr id="18" name="Picture 17" descr="A blue and black circle&#10;&#10;Description automatically generated">
            <a:extLst>
              <a:ext uri="{FF2B5EF4-FFF2-40B4-BE49-F238E27FC236}">
                <a16:creationId xmlns:a16="http://schemas.microsoft.com/office/drawing/2014/main" id="{13AE9462-1B5A-078B-6532-AA2FDF8C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6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762" y="878111"/>
            <a:ext cx="7937648" cy="7351489"/>
          </a:xfrm>
          <a:prstGeom prst="rect">
            <a:avLst/>
          </a:prstGeom>
        </p:spPr>
      </p:pic>
      <p:pic>
        <p:nvPicPr>
          <p:cNvPr id="3" name="Picture 13">
            <a:extLst>
              <a:ext uri="{FF2B5EF4-FFF2-40B4-BE49-F238E27FC236}">
                <a16:creationId xmlns:a16="http://schemas.microsoft.com/office/drawing/2014/main" id="{F2AE71EE-DE37-25FC-7367-FD8DB069336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923DB61-3194-E269-BAC3-50C7C95C5541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004263E-B111-25AD-C5B9-AAFBAD5594E9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3">
            <a:extLst>
              <a:ext uri="{FF2B5EF4-FFF2-40B4-BE49-F238E27FC236}">
                <a16:creationId xmlns:a16="http://schemas.microsoft.com/office/drawing/2014/main" id="{706B3943-1266-DE65-C45E-B51E452869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9">
            <a:extLst>
              <a:ext uri="{FF2B5EF4-FFF2-40B4-BE49-F238E27FC236}">
                <a16:creationId xmlns:a16="http://schemas.microsoft.com/office/drawing/2014/main" id="{D351E255-333C-A927-1DF4-90D3D114E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35120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4853-1AD0-94B8-C382-CC92751D04B3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9307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1F48185-4A90-1F41-9965-C14A4B5DE48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043" t="37398" r="-7164" b="37398"/>
          <a:stretch/>
        </p:blipFill>
        <p:spPr>
          <a:xfrm>
            <a:off x="0" y="4114800"/>
            <a:ext cx="12590855" cy="4114800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0" y="4597337"/>
            <a:ext cx="6181725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4015087-DD4C-4BEB-C938-55F4481B8D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1" y="4597337"/>
            <a:ext cx="6181725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4E6A637-0183-A847-0901-82E7EA463332}"/>
              </a:ext>
            </a:extLst>
          </p:cNvPr>
          <p:cNvSpPr/>
          <p:nvPr userDrawn="1"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7F5382F-F0D6-A927-999A-E2BC7C6371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043" t="37398" r="-7164" b="37398"/>
          <a:stretch/>
        </p:blipFill>
        <p:spPr>
          <a:xfrm>
            <a:off x="0" y="4114800"/>
            <a:ext cx="12590855" cy="41148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836A24-6018-F2F9-BAF7-87A321C60DD7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3">
            <a:extLst>
              <a:ext uri="{FF2B5EF4-FFF2-40B4-BE49-F238E27FC236}">
                <a16:creationId xmlns:a16="http://schemas.microsoft.com/office/drawing/2014/main" id="{44366FC9-2BCD-23AB-1105-063B6BA65F5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724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Comparison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0" y="4597337"/>
            <a:ext cx="6181725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4015087-DD4C-4BEB-C938-55F4481B8D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1" y="4597337"/>
            <a:ext cx="6181725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88D0D6C-8324-3C50-5D98-EDDFCA9AD77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89861" y="6224285"/>
            <a:ext cx="6181725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D750F0-3500-4A62-B5F5-32CA11F4D794}"/>
              </a:ext>
            </a:extLst>
          </p:cNvPr>
          <p:cNvSpPr/>
          <p:nvPr userDrawn="1"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CE21E2C-618E-2A41-DD9F-534953CE4BB8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3">
            <a:extLst>
              <a:ext uri="{FF2B5EF4-FFF2-40B4-BE49-F238E27FC236}">
                <a16:creationId xmlns:a16="http://schemas.microsoft.com/office/drawing/2014/main" id="{BD1CD5A1-A488-6AA2-3D14-B5E9E7840D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138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mparison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0" y="4597337"/>
            <a:ext cx="6181725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34298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4015087-DD4C-4BEB-C938-55F4481B8D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1" y="4597337"/>
            <a:ext cx="6181725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88D0D6C-8324-3C50-5D98-EDDFCA9AD77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89861" y="6224285"/>
            <a:ext cx="6181725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D750F0-3500-4A62-B5F5-32CA11F4D794}"/>
              </a:ext>
            </a:extLst>
          </p:cNvPr>
          <p:cNvSpPr/>
          <p:nvPr userDrawn="1"/>
        </p:nvSpPr>
        <p:spPr>
          <a:xfrm>
            <a:off x="-1" y="3388658"/>
            <a:ext cx="14630401" cy="4840941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CE21E2C-618E-2A41-DD9F-534953CE4BB8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3">
            <a:extLst>
              <a:ext uri="{FF2B5EF4-FFF2-40B4-BE49-F238E27FC236}">
                <a16:creationId xmlns:a16="http://schemas.microsoft.com/office/drawing/2014/main" id="{BD1CD5A1-A488-6AA2-3D14-B5E9E7840D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778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Comparison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/>
        </p:nvSpPr>
        <p:spPr>
          <a:xfrm>
            <a:off x="-1" y="4746174"/>
            <a:ext cx="14630401" cy="3483426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71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406136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FCA953-571E-B7D5-ACEC-5E462272BF1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0788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9CF1158-A461-089C-58B6-4965E048C92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505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EE4821D-5F4A-9F5D-A3F9-818DD12FA00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222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80F95A5-58F3-0627-AC8B-11C804EF367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5939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AF30503-40E4-1CC8-935D-8FD9179490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7656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BB770F8-146D-0C18-5703-B0A5EC2FD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07144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AAC1F5D-6D5F-E6F2-3B8D-0C4675B9CF3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083380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8BFA5280-2B70-F987-95D7-009D4551D8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257801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107B6A0-1E6E-EE7D-52B3-477534D4409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422244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3BB75DD2-9B14-0D29-EAD8-9740DE08908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93944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1A39C4F7-8756-9189-ECB3-A4EAA943EA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1765644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612045-EA53-310F-D5A7-DDBF4017A9FB}"/>
              </a:ext>
            </a:extLst>
          </p:cNvPr>
          <p:cNvSpPr/>
          <p:nvPr userDrawn="1"/>
        </p:nvSpPr>
        <p:spPr>
          <a:xfrm>
            <a:off x="-1" y="4746174"/>
            <a:ext cx="14630401" cy="3483426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FA910A6-18B9-8E61-5554-A580B766566A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3">
            <a:extLst>
              <a:ext uri="{FF2B5EF4-FFF2-40B4-BE49-F238E27FC236}">
                <a16:creationId xmlns:a16="http://schemas.microsoft.com/office/drawing/2014/main" id="{86E634B0-AF60-4607-A6AC-4B90534C2D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424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959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/>
        </p:nvSpPr>
        <p:spPr>
          <a:xfrm>
            <a:off x="-1" y="0"/>
            <a:ext cx="14630401" cy="41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A54B756-9183-3E11-CB28-0067F4E6C8AF}"/>
              </a:ext>
            </a:extLst>
          </p:cNvPr>
          <p:cNvCxnSpPr>
            <a:cxnSpLocks/>
          </p:cNvCxnSpPr>
          <p:nvPr/>
        </p:nvCxnSpPr>
        <p:spPr>
          <a:xfrm>
            <a:off x="654050" y="4114800"/>
            <a:ext cx="13317538" cy="0"/>
          </a:xfrm>
          <a:prstGeom prst="line">
            <a:avLst/>
          </a:prstGeom>
          <a:ln w="31750" cap="sq">
            <a:solidFill>
              <a:schemeClr val="bg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0ACC6DE4-1455-080B-D73B-55797DDD800F}"/>
              </a:ext>
            </a:extLst>
          </p:cNvPr>
          <p:cNvSpPr/>
          <p:nvPr/>
        </p:nvSpPr>
        <p:spPr>
          <a:xfrm>
            <a:off x="526811" y="3987561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1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CA671DEF-2F90-D579-B059-EF688EAD1672}"/>
              </a:ext>
            </a:extLst>
          </p:cNvPr>
          <p:cNvSpPr/>
          <p:nvPr/>
        </p:nvSpPr>
        <p:spPr>
          <a:xfrm>
            <a:off x="2759036" y="3987561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2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1C65D65-0B85-9F75-4461-B870D52CBF2A}"/>
              </a:ext>
            </a:extLst>
          </p:cNvPr>
          <p:cNvSpPr/>
          <p:nvPr/>
        </p:nvSpPr>
        <p:spPr>
          <a:xfrm>
            <a:off x="4991261" y="3987561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E874A254-DB98-7647-1A30-471F328492B0}"/>
              </a:ext>
            </a:extLst>
          </p:cNvPr>
          <p:cNvSpPr/>
          <p:nvPr/>
        </p:nvSpPr>
        <p:spPr>
          <a:xfrm>
            <a:off x="7223486" y="3987560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4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D9F68A79-2A33-1D55-F2E4-C1C6DA2F01FB}"/>
              </a:ext>
            </a:extLst>
          </p:cNvPr>
          <p:cNvSpPr/>
          <p:nvPr/>
        </p:nvSpPr>
        <p:spPr>
          <a:xfrm>
            <a:off x="9455711" y="3987560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5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196A40C2-3679-6996-E403-76919CA0EB21}"/>
              </a:ext>
            </a:extLst>
          </p:cNvPr>
          <p:cNvSpPr/>
          <p:nvPr/>
        </p:nvSpPr>
        <p:spPr>
          <a:xfrm>
            <a:off x="11687935" y="3987560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6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97EB1A0-13ED-A58D-7A26-E7587BE64A32}"/>
              </a:ext>
            </a:extLst>
          </p:cNvPr>
          <p:cNvCxnSpPr>
            <a:cxnSpLocks/>
            <a:stCxn id="56" idx="4"/>
          </p:cNvCxnSpPr>
          <p:nvPr/>
        </p:nvCxnSpPr>
        <p:spPr>
          <a:xfrm>
            <a:off x="654050" y="4242039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939C886-CA26-1E2C-7187-5E1A17D30BB0}"/>
              </a:ext>
            </a:extLst>
          </p:cNvPr>
          <p:cNvCxnSpPr>
            <a:cxnSpLocks/>
            <a:stCxn id="59" idx="4"/>
          </p:cNvCxnSpPr>
          <p:nvPr/>
        </p:nvCxnSpPr>
        <p:spPr>
          <a:xfrm flipH="1">
            <a:off x="2880752" y="4242039"/>
            <a:ext cx="5523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C520669-3D54-B327-D18D-5529A572B3D3}"/>
              </a:ext>
            </a:extLst>
          </p:cNvPr>
          <p:cNvCxnSpPr>
            <a:cxnSpLocks/>
            <a:stCxn id="62" idx="4"/>
          </p:cNvCxnSpPr>
          <p:nvPr/>
        </p:nvCxnSpPr>
        <p:spPr>
          <a:xfrm>
            <a:off x="5118500" y="4242039"/>
            <a:ext cx="5523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71662CE-E47D-DD87-FEB6-6F96AD81D8C5}"/>
              </a:ext>
            </a:extLst>
          </p:cNvPr>
          <p:cNvCxnSpPr>
            <a:cxnSpLocks/>
            <a:stCxn id="65" idx="4"/>
          </p:cNvCxnSpPr>
          <p:nvPr/>
        </p:nvCxnSpPr>
        <p:spPr>
          <a:xfrm flipH="1">
            <a:off x="7350724" y="4242038"/>
            <a:ext cx="1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939F164-502F-C17C-26D3-6FBFC1E12E67}"/>
              </a:ext>
            </a:extLst>
          </p:cNvPr>
          <p:cNvCxnSpPr>
            <a:cxnSpLocks/>
            <a:stCxn id="68" idx="4"/>
          </p:cNvCxnSpPr>
          <p:nvPr/>
        </p:nvCxnSpPr>
        <p:spPr>
          <a:xfrm>
            <a:off x="9582950" y="4242038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57A2F21E-38E4-49E1-B7F9-5C8BD9CA5CBB}"/>
              </a:ext>
            </a:extLst>
          </p:cNvPr>
          <p:cNvCxnSpPr>
            <a:cxnSpLocks/>
            <a:stCxn id="71" idx="4"/>
          </p:cNvCxnSpPr>
          <p:nvPr/>
        </p:nvCxnSpPr>
        <p:spPr>
          <a:xfrm>
            <a:off x="11815174" y="4242038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825D66BA-EC4C-A012-B80F-B58D7EEA6F20}"/>
              </a:ext>
            </a:extLst>
          </p:cNvPr>
          <p:cNvSpPr/>
          <p:nvPr userDrawn="1"/>
        </p:nvSpPr>
        <p:spPr>
          <a:xfrm>
            <a:off x="-1" y="0"/>
            <a:ext cx="14630401" cy="41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FC620E3-B191-0A9A-366A-B04E0721B6BE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7FF5706C-54EB-1F88-0EB4-D70542B321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3537F33-D613-D843-8C8D-6CDCBE0E6E65}"/>
              </a:ext>
            </a:extLst>
          </p:cNvPr>
          <p:cNvCxnSpPr>
            <a:cxnSpLocks/>
          </p:cNvCxnSpPr>
          <p:nvPr userDrawn="1"/>
        </p:nvCxnSpPr>
        <p:spPr>
          <a:xfrm>
            <a:off x="654050" y="4114800"/>
            <a:ext cx="13317538" cy="0"/>
          </a:xfrm>
          <a:prstGeom prst="line">
            <a:avLst/>
          </a:prstGeom>
          <a:ln w="31750" cap="sq">
            <a:solidFill>
              <a:schemeClr val="bg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54BA4E63-21CA-F6C4-80E6-92B3C35EA4B0}"/>
              </a:ext>
            </a:extLst>
          </p:cNvPr>
          <p:cNvSpPr/>
          <p:nvPr userDrawn="1"/>
        </p:nvSpPr>
        <p:spPr>
          <a:xfrm>
            <a:off x="526811" y="3987561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9224294-B605-5B15-E6FA-F8442A42CFC0}"/>
              </a:ext>
            </a:extLst>
          </p:cNvPr>
          <p:cNvSpPr/>
          <p:nvPr userDrawn="1"/>
        </p:nvSpPr>
        <p:spPr>
          <a:xfrm>
            <a:off x="2759036" y="3987561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534D0A0-B054-7FA2-0B7B-B72BAF65A2B4}"/>
              </a:ext>
            </a:extLst>
          </p:cNvPr>
          <p:cNvSpPr/>
          <p:nvPr userDrawn="1"/>
        </p:nvSpPr>
        <p:spPr>
          <a:xfrm>
            <a:off x="4991261" y="3987561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098597A-17AF-7DB8-9120-DB3AFF2A2FA0}"/>
              </a:ext>
            </a:extLst>
          </p:cNvPr>
          <p:cNvSpPr/>
          <p:nvPr userDrawn="1"/>
        </p:nvSpPr>
        <p:spPr>
          <a:xfrm>
            <a:off x="7223486" y="3987560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4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535C71E-10C1-A354-6B77-147ABA9ACA9C}"/>
              </a:ext>
            </a:extLst>
          </p:cNvPr>
          <p:cNvSpPr/>
          <p:nvPr userDrawn="1"/>
        </p:nvSpPr>
        <p:spPr>
          <a:xfrm>
            <a:off x="9455711" y="3987560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5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408EE35-8437-0C12-D405-A94889B7C180}"/>
              </a:ext>
            </a:extLst>
          </p:cNvPr>
          <p:cNvSpPr/>
          <p:nvPr userDrawn="1"/>
        </p:nvSpPr>
        <p:spPr>
          <a:xfrm>
            <a:off x="11687935" y="3987560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6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660AD94-39F6-48A8-E02C-39735C6365EA}"/>
              </a:ext>
            </a:extLst>
          </p:cNvPr>
          <p:cNvCxnSpPr>
            <a:cxnSpLocks/>
            <a:stCxn id="56" idx="4"/>
          </p:cNvCxnSpPr>
          <p:nvPr userDrawn="1"/>
        </p:nvCxnSpPr>
        <p:spPr>
          <a:xfrm>
            <a:off x="654050" y="4242039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0FA1F5C-FC52-4F21-8BB5-45E478003896}"/>
              </a:ext>
            </a:extLst>
          </p:cNvPr>
          <p:cNvCxnSpPr>
            <a:cxnSpLocks/>
            <a:stCxn id="59" idx="4"/>
          </p:cNvCxnSpPr>
          <p:nvPr userDrawn="1"/>
        </p:nvCxnSpPr>
        <p:spPr>
          <a:xfrm flipH="1">
            <a:off x="2880752" y="4242039"/>
            <a:ext cx="5523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DD63E4F-2799-1608-C530-9BC1FEF07647}"/>
              </a:ext>
            </a:extLst>
          </p:cNvPr>
          <p:cNvCxnSpPr>
            <a:cxnSpLocks/>
            <a:stCxn id="62" idx="4"/>
          </p:cNvCxnSpPr>
          <p:nvPr userDrawn="1"/>
        </p:nvCxnSpPr>
        <p:spPr>
          <a:xfrm>
            <a:off x="5118500" y="4242039"/>
            <a:ext cx="5523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38CF0D-E106-C206-E303-85D0006DB5F7}"/>
              </a:ext>
            </a:extLst>
          </p:cNvPr>
          <p:cNvCxnSpPr>
            <a:cxnSpLocks/>
            <a:stCxn id="65" idx="4"/>
          </p:cNvCxnSpPr>
          <p:nvPr userDrawn="1"/>
        </p:nvCxnSpPr>
        <p:spPr>
          <a:xfrm flipH="1">
            <a:off x="7350724" y="4242038"/>
            <a:ext cx="1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9C1267A-B6F3-A1DD-A254-69A573610BF3}"/>
              </a:ext>
            </a:extLst>
          </p:cNvPr>
          <p:cNvCxnSpPr>
            <a:cxnSpLocks/>
            <a:stCxn id="68" idx="4"/>
          </p:cNvCxnSpPr>
          <p:nvPr userDrawn="1"/>
        </p:nvCxnSpPr>
        <p:spPr>
          <a:xfrm>
            <a:off x="9582950" y="4242038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0006806-D5FC-6EA8-BEDF-FF29C7518767}"/>
              </a:ext>
            </a:extLst>
          </p:cNvPr>
          <p:cNvCxnSpPr>
            <a:cxnSpLocks/>
            <a:stCxn id="71" idx="4"/>
          </p:cNvCxnSpPr>
          <p:nvPr userDrawn="1"/>
        </p:nvCxnSpPr>
        <p:spPr>
          <a:xfrm>
            <a:off x="11815174" y="4242038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9607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/>
        </p:nvSpPr>
        <p:spPr>
          <a:xfrm>
            <a:off x="-1" y="0"/>
            <a:ext cx="14630401" cy="41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A54B756-9183-3E11-CB28-0067F4E6C8AF}"/>
              </a:ext>
            </a:extLst>
          </p:cNvPr>
          <p:cNvCxnSpPr>
            <a:cxnSpLocks/>
          </p:cNvCxnSpPr>
          <p:nvPr/>
        </p:nvCxnSpPr>
        <p:spPr>
          <a:xfrm>
            <a:off x="654050" y="4114800"/>
            <a:ext cx="13317538" cy="0"/>
          </a:xfrm>
          <a:prstGeom prst="line">
            <a:avLst/>
          </a:prstGeom>
          <a:ln w="31750" cap="sq">
            <a:solidFill>
              <a:schemeClr val="bg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470BB574-0468-672D-8C84-68F9DD1973C5}"/>
              </a:ext>
            </a:extLst>
          </p:cNvPr>
          <p:cNvSpPr/>
          <p:nvPr userDrawn="1"/>
        </p:nvSpPr>
        <p:spPr>
          <a:xfrm>
            <a:off x="-1" y="0"/>
            <a:ext cx="14630401" cy="41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D6350A1-A9D8-07D7-FB45-A18C21A8E337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9F4CA36E-0403-8DBB-23E5-2AF98E23BC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263C82A-E10C-5E13-4886-FD6B6F41E722}"/>
              </a:ext>
            </a:extLst>
          </p:cNvPr>
          <p:cNvCxnSpPr>
            <a:cxnSpLocks/>
          </p:cNvCxnSpPr>
          <p:nvPr userDrawn="1"/>
        </p:nvCxnSpPr>
        <p:spPr>
          <a:xfrm>
            <a:off x="654050" y="4114800"/>
            <a:ext cx="13317538" cy="0"/>
          </a:xfrm>
          <a:prstGeom prst="line">
            <a:avLst/>
          </a:prstGeom>
          <a:ln w="31750" cap="sq">
            <a:solidFill>
              <a:schemeClr val="bg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2473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13317538" cy="73548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218659"/>
            <a:ext cx="13317538" cy="413623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383A641-C44F-DD79-DCEB-86F2C6695CD8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5EAB7D46-8EB4-3236-916C-36B8185057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909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8326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62214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406137"/>
            <a:ext cx="8979807" cy="953342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BB770F8-146D-0C18-5703-B0A5EC2FD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2214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Block Arc 1">
            <a:extLst>
              <a:ext uri="{FF2B5EF4-FFF2-40B4-BE49-F238E27FC236}">
                <a16:creationId xmlns:a16="http://schemas.microsoft.com/office/drawing/2014/main" id="{E792BF59-14B1-484D-D23E-AAAF55BB2557}"/>
              </a:ext>
            </a:extLst>
          </p:cNvPr>
          <p:cNvSpPr/>
          <p:nvPr/>
        </p:nvSpPr>
        <p:spPr>
          <a:xfrm>
            <a:off x="66221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Block Arc 2">
            <a:extLst>
              <a:ext uri="{FF2B5EF4-FFF2-40B4-BE49-F238E27FC236}">
                <a16:creationId xmlns:a16="http://schemas.microsoft.com/office/drawing/2014/main" id="{C83F0C49-2E7F-8399-3F49-AFD9AFB51DF1}"/>
              </a:ext>
            </a:extLst>
          </p:cNvPr>
          <p:cNvSpPr/>
          <p:nvPr/>
        </p:nvSpPr>
        <p:spPr>
          <a:xfrm>
            <a:off x="2119673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DD901083-529F-EECC-83E0-A1C296B7EFBC}"/>
              </a:ext>
            </a:extLst>
          </p:cNvPr>
          <p:cNvSpPr/>
          <p:nvPr/>
        </p:nvSpPr>
        <p:spPr>
          <a:xfrm>
            <a:off x="3577131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B64244F8-43A2-76EB-285B-1957A0389376}"/>
              </a:ext>
            </a:extLst>
          </p:cNvPr>
          <p:cNvSpPr/>
          <p:nvPr/>
        </p:nvSpPr>
        <p:spPr>
          <a:xfrm>
            <a:off x="502626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Block Arc 16">
            <a:extLst>
              <a:ext uri="{FF2B5EF4-FFF2-40B4-BE49-F238E27FC236}">
                <a16:creationId xmlns:a16="http://schemas.microsoft.com/office/drawing/2014/main" id="{2C1ECC12-D4C2-94B6-4138-FE1F45AB1A38}"/>
              </a:ext>
            </a:extLst>
          </p:cNvPr>
          <p:cNvSpPr/>
          <p:nvPr/>
        </p:nvSpPr>
        <p:spPr>
          <a:xfrm>
            <a:off x="6483722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7730BD48-05AE-FC26-A7DD-4D9098F99CC9}"/>
              </a:ext>
            </a:extLst>
          </p:cNvPr>
          <p:cNvSpPr/>
          <p:nvPr/>
        </p:nvSpPr>
        <p:spPr>
          <a:xfrm>
            <a:off x="7941181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CE356852-A97F-2238-595D-6E4DF9600424}"/>
              </a:ext>
            </a:extLst>
          </p:cNvPr>
          <p:cNvSpPr/>
          <p:nvPr/>
        </p:nvSpPr>
        <p:spPr>
          <a:xfrm>
            <a:off x="9398640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2926C4F9-297F-D20E-DD9A-E07517314604}"/>
              </a:ext>
            </a:extLst>
          </p:cNvPr>
          <p:cNvSpPr/>
          <p:nvPr/>
        </p:nvSpPr>
        <p:spPr>
          <a:xfrm>
            <a:off x="10856098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Block Arc 25">
            <a:extLst>
              <a:ext uri="{FF2B5EF4-FFF2-40B4-BE49-F238E27FC236}">
                <a16:creationId xmlns:a16="http://schemas.microsoft.com/office/drawing/2014/main" id="{64E0FCD9-B4FE-F1CD-B3A8-63FAD62B7BD3}"/>
              </a:ext>
            </a:extLst>
          </p:cNvPr>
          <p:cNvSpPr/>
          <p:nvPr/>
        </p:nvSpPr>
        <p:spPr>
          <a:xfrm>
            <a:off x="1233003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9C84E24-9AB8-9866-F6EC-14EFDCAA76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292882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6D9CBE-24A7-15DD-190C-49FBBB613C5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292882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8BAF851-D0E2-45EC-CD7E-3CDAFEFB783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02531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EDC6C58-FFA7-B881-95E2-25ABF227207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02531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F15C8AB7-85DC-B97C-0766-E27489D906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33199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81A63413-062B-F36C-19C2-557E3240413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33199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94945E23-06E1-AACC-770D-123724B3826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492690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DC309C6-527F-2C81-142D-18C4C5F87E3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492690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01B5CB51-C3DB-1923-2CA7-3F77E5627EF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123358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10288D6F-F2B5-3F9D-CD9B-D1990406B71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23358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D37D360-46F2-FF35-EC21-A45D5A004D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424041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6E433D96-6482-AE9E-26FA-1E225676CB9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424041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59B0D1DA-0EED-A57C-749B-0575A556919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054709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ECF57A6-AB74-2003-30FA-A67FE64B8ED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054709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4A6A2CEE-AE65-55EA-8DF1-5CB865943C6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2330034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429EA313-FD08-371D-00CD-DEF8809B71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2330034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9869739-6C5E-2130-9996-AADE2D886D70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>
            <a:extLst>
              <a:ext uri="{FF2B5EF4-FFF2-40B4-BE49-F238E27FC236}">
                <a16:creationId xmlns:a16="http://schemas.microsoft.com/office/drawing/2014/main" id="{A12C2953-6FFA-1CB4-B4F1-9F7AB3DBB5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8" name="Block Arc 7">
            <a:extLst>
              <a:ext uri="{FF2B5EF4-FFF2-40B4-BE49-F238E27FC236}">
                <a16:creationId xmlns:a16="http://schemas.microsoft.com/office/drawing/2014/main" id="{B19C0643-EAFD-9E7E-7366-53FD04820E9A}"/>
              </a:ext>
            </a:extLst>
          </p:cNvPr>
          <p:cNvSpPr/>
          <p:nvPr userDrawn="1"/>
        </p:nvSpPr>
        <p:spPr>
          <a:xfrm>
            <a:off x="66221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67C1A5F1-5274-6D89-EB57-D20659E90B80}"/>
              </a:ext>
            </a:extLst>
          </p:cNvPr>
          <p:cNvSpPr/>
          <p:nvPr userDrawn="1"/>
        </p:nvSpPr>
        <p:spPr>
          <a:xfrm>
            <a:off x="2119673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5868C7B6-1196-1417-30B8-4B6A703721C7}"/>
              </a:ext>
            </a:extLst>
          </p:cNvPr>
          <p:cNvSpPr/>
          <p:nvPr userDrawn="1"/>
        </p:nvSpPr>
        <p:spPr>
          <a:xfrm>
            <a:off x="3577131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F81D62AF-456F-FE2F-8E3F-61AEA8DC9106}"/>
              </a:ext>
            </a:extLst>
          </p:cNvPr>
          <p:cNvSpPr/>
          <p:nvPr userDrawn="1"/>
        </p:nvSpPr>
        <p:spPr>
          <a:xfrm>
            <a:off x="502626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Block Arc 21">
            <a:extLst>
              <a:ext uri="{FF2B5EF4-FFF2-40B4-BE49-F238E27FC236}">
                <a16:creationId xmlns:a16="http://schemas.microsoft.com/office/drawing/2014/main" id="{A1DFA566-9709-D69F-5B08-8D3F9189E3ED}"/>
              </a:ext>
            </a:extLst>
          </p:cNvPr>
          <p:cNvSpPr/>
          <p:nvPr userDrawn="1"/>
        </p:nvSpPr>
        <p:spPr>
          <a:xfrm>
            <a:off x="6483722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Block Arc 22">
            <a:extLst>
              <a:ext uri="{FF2B5EF4-FFF2-40B4-BE49-F238E27FC236}">
                <a16:creationId xmlns:a16="http://schemas.microsoft.com/office/drawing/2014/main" id="{C720AA97-AA78-AC33-B1DB-A5AB6ABF34F5}"/>
              </a:ext>
            </a:extLst>
          </p:cNvPr>
          <p:cNvSpPr/>
          <p:nvPr userDrawn="1"/>
        </p:nvSpPr>
        <p:spPr>
          <a:xfrm>
            <a:off x="7941181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4" name="Block Arc 23">
            <a:extLst>
              <a:ext uri="{FF2B5EF4-FFF2-40B4-BE49-F238E27FC236}">
                <a16:creationId xmlns:a16="http://schemas.microsoft.com/office/drawing/2014/main" id="{CE524AEC-F841-C449-FCAC-75B6350F9F42}"/>
              </a:ext>
            </a:extLst>
          </p:cNvPr>
          <p:cNvSpPr/>
          <p:nvPr userDrawn="1"/>
        </p:nvSpPr>
        <p:spPr>
          <a:xfrm>
            <a:off x="9398640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5" name="Block Arc 24">
            <a:extLst>
              <a:ext uri="{FF2B5EF4-FFF2-40B4-BE49-F238E27FC236}">
                <a16:creationId xmlns:a16="http://schemas.microsoft.com/office/drawing/2014/main" id="{65160EE3-BCAC-2E6C-D93C-EEB63C04E666}"/>
              </a:ext>
            </a:extLst>
          </p:cNvPr>
          <p:cNvSpPr/>
          <p:nvPr userDrawn="1"/>
        </p:nvSpPr>
        <p:spPr>
          <a:xfrm>
            <a:off x="10856098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Block Arc 26">
            <a:extLst>
              <a:ext uri="{FF2B5EF4-FFF2-40B4-BE49-F238E27FC236}">
                <a16:creationId xmlns:a16="http://schemas.microsoft.com/office/drawing/2014/main" id="{C703E83C-D48A-7C1A-13AC-965197D94373}"/>
              </a:ext>
            </a:extLst>
          </p:cNvPr>
          <p:cNvSpPr/>
          <p:nvPr userDrawn="1"/>
        </p:nvSpPr>
        <p:spPr>
          <a:xfrm>
            <a:off x="1233003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647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959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62214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406137"/>
            <a:ext cx="8979807" cy="953342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BB770F8-146D-0C18-5703-B0A5EC2FD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2214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9C84E24-9AB8-9866-F6EC-14EFDCAA76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292882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6D9CBE-24A7-15DD-190C-49FBBB613C5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292882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8BAF851-D0E2-45EC-CD7E-3CDAFEFB783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02531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EDC6C58-FFA7-B881-95E2-25ABF227207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02531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F15C8AB7-85DC-B97C-0766-E27489D906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33199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81A63413-062B-F36C-19C2-557E3240413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33199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94945E23-06E1-AACC-770D-123724B3826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492690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DC309C6-527F-2C81-142D-18C4C5F87E3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492690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01B5CB51-C3DB-1923-2CA7-3F77E5627EF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123358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10288D6F-F2B5-3F9D-CD9B-D1990406B71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23358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D37D360-46F2-FF35-EC21-A45D5A004D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424041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6E433D96-6482-AE9E-26FA-1E225676CB9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424041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59B0D1DA-0EED-A57C-749B-0575A556919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054709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ECF57A6-AB74-2003-30FA-A67FE64B8ED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054709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4A6A2CEE-AE65-55EA-8DF1-5CB865943C6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2330034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429EA313-FD08-371D-00CD-DEF8809B71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2330034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37C6C82-9506-4108-75A4-00581DF28CCF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3">
            <a:extLst>
              <a:ext uri="{FF2B5EF4-FFF2-40B4-BE49-F238E27FC236}">
                <a16:creationId xmlns:a16="http://schemas.microsoft.com/office/drawing/2014/main" id="{1199C647-BC01-422A-8997-DE2A42FAC3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86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959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4988" t="36166" b="22343"/>
          <a:stretch/>
        </p:blipFill>
        <p:spPr>
          <a:xfrm>
            <a:off x="0" y="0"/>
            <a:ext cx="11730584" cy="7486483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2807" y="463025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53372" y="1631918"/>
            <a:ext cx="3092888" cy="222220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2807" y="535549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2194BD-6A0C-FCC3-E5FF-33B8BFF22404}"/>
              </a:ext>
            </a:extLst>
          </p:cNvPr>
          <p:cNvCxnSpPr>
            <a:cxnSpLocks/>
          </p:cNvCxnSpPr>
          <p:nvPr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A2F9120-4EF5-53C5-0A3C-BCA4D61A1365}"/>
              </a:ext>
            </a:extLst>
          </p:cNvPr>
          <p:cNvSpPr txBox="1"/>
          <p:nvPr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81E246-BB91-FF3C-F1B5-443DAD88639E}"/>
              </a:ext>
            </a:extLst>
          </p:cNvPr>
          <p:cNvSpPr txBox="1"/>
          <p:nvPr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C73759B-753D-1AC6-6E1D-4B4B344866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2807" y="595266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1BFACB9-FE01-386B-D4E9-F1496615E7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2807" y="651192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DFCA23-E3DC-F8D0-6E3D-71C15CE02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2807" y="2617013"/>
            <a:ext cx="5226457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BFCE077-0E6F-689C-42F8-59083DC1FEEB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653ACE-ED3A-13E9-7FE3-F4CEB93EC004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275E7B6-3C79-0CFC-19D0-2C735A5E31E3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DB7315D7-CF1C-B28A-1571-C91146966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4988" t="36166" b="22343"/>
          <a:stretch/>
        </p:blipFill>
        <p:spPr>
          <a:xfrm>
            <a:off x="0" y="0"/>
            <a:ext cx="11730584" cy="7486483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84DE845-3B11-5971-EBE3-C7018BC12A3D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D9A675D-28C1-1BB2-FBAA-8FBF86202F44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415C44-D6EC-6E7D-7EE8-7D6322346623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9334301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4588" y="1913756"/>
            <a:ext cx="5226457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65795" y="2822702"/>
            <a:ext cx="3426199" cy="246168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8E13D35-49BE-0F9A-E988-B1509449EEDC}"/>
              </a:ext>
            </a:extLst>
          </p:cNvPr>
          <p:cNvCxnSpPr>
            <a:cxnSpLocks/>
          </p:cNvCxnSpPr>
          <p:nvPr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C301B60-D07C-9E18-48E2-BAD4E8FB8826}"/>
              </a:ext>
            </a:extLst>
          </p:cNvPr>
          <p:cNvSpPr txBox="1"/>
          <p:nvPr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7A4E31-5F1F-1542-8A4A-FB3D5626A50D}"/>
              </a:ext>
            </a:extLst>
          </p:cNvPr>
          <p:cNvSpPr txBox="1"/>
          <p:nvPr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A65A20E-5CD8-9F1E-9312-274AD2DD5F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4588" y="401193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EE02745-723E-452A-7BD9-3A0A47644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4588" y="473717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3E050E7-D376-7CB7-7B6F-6567B7B383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4588" y="533434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41BA115-7378-3D1B-ACF1-D9C34C7ADC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94588" y="589360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6BE8BA4-FF09-9A2C-A914-87A1C86116FB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A9C073C-F6DA-40E5-82A5-B4C91E94F35E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BEDE483-7FE7-3909-0F9E-21720D092575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32DA977F-2BAA-E3F3-E970-A377DACBA5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A2B26DF-B66C-624F-F082-5904C6A322B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65795" y="2822702"/>
            <a:ext cx="3426199" cy="246168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C0AAAEA-550D-5B67-A272-15E456B06F3B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FEF56E19-4402-D050-9FB3-1BD0C7C0332A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56D564-8E8E-7F91-853E-BE5DC1780A46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7096856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Indigo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2869" t="32329" r="23419" b="32329"/>
          <a:stretch/>
        </p:blipFill>
        <p:spPr>
          <a:xfrm>
            <a:off x="0" y="-1"/>
            <a:ext cx="7850038" cy="8229601"/>
          </a:xfrm>
          <a:prstGeom prst="rect">
            <a:avLst/>
          </a:prstGeom>
        </p:spPr>
      </p:pic>
      <p:pic>
        <p:nvPicPr>
          <p:cNvPr id="4" name="Google Shape;101;p16">
            <a:extLst>
              <a:ext uri="{FF2B5EF4-FFF2-40B4-BE49-F238E27FC236}">
                <a16:creationId xmlns:a16="http://schemas.microsoft.com/office/drawing/2014/main" id="{9877002A-4F3A-E7A7-7265-49E111B971E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654050" y="3614059"/>
            <a:ext cx="4399535" cy="116556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07F5FC-876A-F468-E5E0-C63102A793AA}"/>
              </a:ext>
            </a:extLst>
          </p:cNvPr>
          <p:cNvCxnSpPr>
            <a:cxnSpLocks/>
          </p:cNvCxnSpPr>
          <p:nvPr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FF51128-CB71-AF4E-0555-90F85255DF15}"/>
              </a:ext>
            </a:extLst>
          </p:cNvPr>
          <p:cNvSpPr txBox="1"/>
          <p:nvPr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137B12-43BF-9E8C-D4BB-40CA769AE423}"/>
              </a:ext>
            </a:extLst>
          </p:cNvPr>
          <p:cNvSpPr txBox="1"/>
          <p:nvPr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3C440A6-0999-717A-0221-50EF957A2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4588" y="1913756"/>
            <a:ext cx="5226457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2D9C1F3-A149-019C-AD68-6CAAF54CB6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4588" y="401193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E0E6ABE-26A6-5B22-DE4B-91BF7AF9D4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4588" y="473717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38E78C2-9C87-7CB2-BCAD-E97DAD95EC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4588" y="533434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6E391D7-2DFC-CAFB-E678-F676360A17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94588" y="589360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BD7C80A-5B96-CCFB-2B0D-6BD30CCBD233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90A7D-C6EE-14AC-0B08-10E8B25B811D}"/>
              </a:ext>
            </a:extLst>
          </p:cNvPr>
          <p:cNvCxnSpPr>
            <a:cxnSpLocks/>
          </p:cNvCxnSpPr>
          <p:nvPr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20E0D46-9D85-2477-ADEF-B23BC87B18FA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2">
            <a:extLst>
              <a:ext uri="{FF2B5EF4-FFF2-40B4-BE49-F238E27FC236}">
                <a16:creationId xmlns:a16="http://schemas.microsoft.com/office/drawing/2014/main" id="{8D1A9F07-8DBC-266F-69AC-16C3810552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2869" t="32329" r="23419" b="32329"/>
          <a:stretch/>
        </p:blipFill>
        <p:spPr>
          <a:xfrm>
            <a:off x="0" y="-1"/>
            <a:ext cx="7850038" cy="8229601"/>
          </a:xfrm>
          <a:prstGeom prst="rect">
            <a:avLst/>
          </a:prstGeom>
        </p:spPr>
      </p:pic>
      <p:pic>
        <p:nvPicPr>
          <p:cNvPr id="14" name="Google Shape;101;p16">
            <a:extLst>
              <a:ext uri="{FF2B5EF4-FFF2-40B4-BE49-F238E27FC236}">
                <a16:creationId xmlns:a16="http://schemas.microsoft.com/office/drawing/2014/main" id="{81D9A870-70A6-4B4F-3203-3EDCFC6962F3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654050" y="3614059"/>
            <a:ext cx="4399535" cy="116556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A838970-E6FA-C4CF-FB50-BA2706E3F4DB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48BC60D-5734-2C57-C827-333BB111D101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A2977D3-065D-A2C6-32FB-0DE38728DAC2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6068572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F450BD-C944-0A21-D2D2-19B48F0233E4}"/>
              </a:ext>
            </a:extLst>
          </p:cNvPr>
          <p:cNvSpPr/>
          <p:nvPr userDrawn="1"/>
        </p:nvSpPr>
        <p:spPr>
          <a:xfrm>
            <a:off x="0" y="-1"/>
            <a:ext cx="7315200" cy="8229551"/>
          </a:xfrm>
          <a:prstGeom prst="rect">
            <a:avLst/>
          </a:prstGeom>
          <a:solidFill>
            <a:srgbClr val="EFEFEF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186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1367">
          <p15:clr>
            <a:srgbClr val="FBAE40"/>
          </p15:clr>
        </p15:guide>
        <p15:guide id="3" orient="horz" pos="105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a. 1-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77388" y="2137144"/>
            <a:ext cx="13290550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>
                <a:latin typeface="+mn-lt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2000">
                <a:latin typeface="+mn-lt"/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000"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C2AAB3E-7A16-234B-8430-A824CC934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0549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en-US"/>
              <a:t>One Line Headline: 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A2437AF-845E-4AC2-9321-5800213F6A9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hea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FBE08E-280B-DF4D-8E09-F91483EF81FA}"/>
              </a:ext>
            </a:extLst>
          </p:cNvPr>
          <p:cNvCxnSpPr>
            <a:cxnSpLocks/>
          </p:cNvCxnSpPr>
          <p:nvPr userDrawn="1"/>
        </p:nvCxnSpPr>
        <p:spPr>
          <a:xfrm>
            <a:off x="2714625" y="7664592"/>
            <a:ext cx="11253311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olid"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FB5066B-4A9E-4EDE-A834-2680A0ED92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/>
              <a:t>© 2023 Medecision, Inc. Proprietary and Confidential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80304DB-F374-4D43-8C6C-520D96CBF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3">
            <a:extLst>
              <a:ext uri="{FF2B5EF4-FFF2-40B4-BE49-F238E27FC236}">
                <a16:creationId xmlns:a16="http://schemas.microsoft.com/office/drawing/2014/main" id="{A8366989-CD63-C24E-9A68-97D255CC0D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40076" y="7404143"/>
            <a:ext cx="1842099" cy="4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766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18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90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748424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90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329" b="32329"/>
          <a:stretch/>
        </p:blipFill>
        <p:spPr>
          <a:xfrm>
            <a:off x="-4327779" y="-1"/>
            <a:ext cx="23285960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89177" y="2371733"/>
            <a:ext cx="4852048" cy="3486136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2194BD-6A0C-FCC3-E5FF-33B8BFF22404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A2F9120-4EF5-53C5-0A3C-BCA4D61A1365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81E246-BB91-FF3C-F1B5-443DAD88639E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B84B0D-E7F8-F71D-A56B-2F7688800477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736C7A-8F0E-7F2E-3710-75C4B9DE78F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56880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6">
            <a:extLst>
              <a:ext uri="{FF2B5EF4-FFF2-40B4-BE49-F238E27FC236}">
                <a16:creationId xmlns:a16="http://schemas.microsoft.com/office/drawing/2014/main" id="{C5C37120-1629-7434-5296-100D28361439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7935913" y="2079487"/>
            <a:ext cx="6024562" cy="52754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091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9600" y="3258528"/>
            <a:ext cx="3941445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52880" y="2822702"/>
            <a:ext cx="3426199" cy="246168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8E13D35-49BE-0F9A-E988-B1509449EEDC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C301B60-D07C-9E18-48E2-BAD4E8FB8826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7A4E31-5F1F-1542-8A4A-FB3D5626A50D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5D1788-7E0A-38F4-3FDB-FDF81C6F59BA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3007EC1-B5DE-B642-B0A5-67C456CF28A5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14768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9600" y="3158897"/>
            <a:ext cx="3941445" cy="19992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4" name="Google Shape;101;p16">
            <a:extLst>
              <a:ext uri="{FF2B5EF4-FFF2-40B4-BE49-F238E27FC236}">
                <a16:creationId xmlns:a16="http://schemas.microsoft.com/office/drawing/2014/main" id="{9877002A-4F3A-E7A7-7265-49E111B971E9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894460" y="3614059"/>
            <a:ext cx="4399535" cy="116556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07F5FC-876A-F468-E5E0-C63102A793AA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FF51128-CB71-AF4E-0555-90F85255DF15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137B12-43BF-9E8C-D4BB-40CA769AE423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8DD1F60-969C-0E61-D808-09249059C93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ED66D1-70D9-003D-05DC-C37386E0736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376464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781" t="35478" r="11588" b="35478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049" y="3325274"/>
            <a:ext cx="6105979" cy="191372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0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3" name="Google Shape;101;p16">
            <a:extLst>
              <a:ext uri="{FF2B5EF4-FFF2-40B4-BE49-F238E27FC236}">
                <a16:creationId xmlns:a16="http://schemas.microsoft.com/office/drawing/2014/main" id="{D752E41C-C841-655F-A925-A8661D6282AA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469919" y="2143849"/>
            <a:ext cx="3042064" cy="8059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1BB3536-B125-5971-5695-2B15824DC225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F9A903A-25AE-81EC-3F0D-85BDE8710ACE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034928-B662-9F21-560E-D1F1E737044B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97A4ACC-C267-50F6-B760-542EF08E38DA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2C302C6-491C-4652-EFC0-B157AAE5CFE0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447350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 userDrawn="1"/>
        </p:nvSpPr>
        <p:spPr>
          <a:xfrm>
            <a:off x="-1" y="0"/>
            <a:ext cx="9487437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1ED612-7755-BDB6-0158-DB037C5FF1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0" y="-1"/>
            <a:ext cx="12590855" cy="8229601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4E2A8BB-313A-7F7C-EBA3-3C5248E77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50" y="500350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165874E-37DE-E633-CB21-9E9B3CF44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35B04A97-FCD6-50CC-AB58-B97CF65E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3271810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C72D8B3E-E004-AF6D-4C75-D32640D1F0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60E86110-134A-0CA7-ED47-7BEF60FF71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AEFC384-7A6A-4950-86A7-692B109175E2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5EA6FF-D8ED-4BA7-EE00-BA8323133EEE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374081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2686B64-E0AA-5C66-8624-60C29255741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494588" cy="4114800"/>
          </a:xfrm>
          <a:prstGeom prst="rect">
            <a:avLst/>
          </a:prstGeo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 userDrawn="1"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1ED612-7755-BDB6-0158-DB037C5FF1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0" y="-1"/>
            <a:ext cx="12590855" cy="8229601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4E2A8BB-313A-7F7C-EBA3-3C5248E77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50" y="665901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35B04A97-FCD6-50CC-AB58-B97CF65E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4927321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C72D8B3E-E004-AF6D-4C75-D32640D1F0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C48B77-DE6A-E4C4-DAEE-30B8F130C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C5C54B9-BC33-4775-13B7-7CCEC1EFBB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28676" y="29274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© 2024 MEDECISION, INC. PROPRIETARY AND CONFIDENTI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B18CA32-3DAD-76AE-1206-B4537FFE2CD3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9B4A9B9-9391-8607-29FB-39CA25EED6D0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18662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0509014-F702-55A0-5543-BD155D6ACD1A}"/>
              </a:ext>
            </a:extLst>
          </p:cNvPr>
          <p:cNvGrpSpPr/>
          <p:nvPr/>
        </p:nvGrpSpPr>
        <p:grpSpPr>
          <a:xfrm>
            <a:off x="8495500" y="2419720"/>
            <a:ext cx="5465202" cy="4760410"/>
            <a:chOff x="607701" y="3476848"/>
            <a:chExt cx="10976598" cy="254726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9CE615-BF00-B94F-3F1C-0F5FE0D35ACD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3476848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C4B466F-C398-4662-0A40-BFDCD8262C5C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3901391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4761F54-6C6C-3133-F091-8E335269F84A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4325934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91A0062-C504-F98F-0360-0C50A282DE5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4750477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50EE34D-25A5-0F96-3B9C-42AE8FD2DA4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5175020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81B3934-40D0-0F2A-965C-FE370C8DBE4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5599564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F6F4437-9138-D836-136D-0291A8A0C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7701" y="6024108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itle 9">
            <a:extLst>
              <a:ext uri="{FF2B5EF4-FFF2-40B4-BE49-F238E27FC236}">
                <a16:creationId xmlns:a16="http://schemas.microsoft.com/office/drawing/2014/main" id="{2E35D605-CC3A-26C2-0C2A-C72604A733E6}"/>
              </a:ext>
            </a:extLst>
          </p:cNvPr>
          <p:cNvSpPr txBox="1">
            <a:spLocks/>
          </p:cNvSpPr>
          <p:nvPr userDrawn="1"/>
        </p:nvSpPr>
        <p:spPr>
          <a:xfrm>
            <a:off x="7772280" y="186312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1" name="Title 9">
            <a:extLst>
              <a:ext uri="{FF2B5EF4-FFF2-40B4-BE49-F238E27FC236}">
                <a16:creationId xmlns:a16="http://schemas.microsoft.com/office/drawing/2014/main" id="{4B2C04BC-286F-3C7F-FDEC-20ACBB0A8C15}"/>
              </a:ext>
            </a:extLst>
          </p:cNvPr>
          <p:cNvSpPr txBox="1">
            <a:spLocks/>
          </p:cNvSpPr>
          <p:nvPr userDrawn="1"/>
        </p:nvSpPr>
        <p:spPr>
          <a:xfrm>
            <a:off x="7772280" y="2667157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14B06336-7327-C964-8D2C-527B45940FBC}"/>
              </a:ext>
            </a:extLst>
          </p:cNvPr>
          <p:cNvSpPr txBox="1">
            <a:spLocks/>
          </p:cNvSpPr>
          <p:nvPr userDrawn="1"/>
        </p:nvSpPr>
        <p:spPr>
          <a:xfrm>
            <a:off x="7772280" y="34494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129BDE67-5220-8F67-04CF-2F235A9702C5}"/>
              </a:ext>
            </a:extLst>
          </p:cNvPr>
          <p:cNvSpPr txBox="1">
            <a:spLocks/>
          </p:cNvSpPr>
          <p:nvPr userDrawn="1"/>
        </p:nvSpPr>
        <p:spPr>
          <a:xfrm>
            <a:off x="7772280" y="42428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Title 9">
            <a:extLst>
              <a:ext uri="{FF2B5EF4-FFF2-40B4-BE49-F238E27FC236}">
                <a16:creationId xmlns:a16="http://schemas.microsoft.com/office/drawing/2014/main" id="{A53E5A64-B4CF-2AE8-EDEE-53D9921140CF}"/>
              </a:ext>
            </a:extLst>
          </p:cNvPr>
          <p:cNvSpPr txBox="1">
            <a:spLocks/>
          </p:cNvSpPr>
          <p:nvPr userDrawn="1"/>
        </p:nvSpPr>
        <p:spPr>
          <a:xfrm>
            <a:off x="7772280" y="5025390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FCFF54C-69F4-4C1B-0641-81FB892DCB95}"/>
              </a:ext>
            </a:extLst>
          </p:cNvPr>
          <p:cNvSpPr txBox="1">
            <a:spLocks/>
          </p:cNvSpPr>
          <p:nvPr userDrawn="1"/>
        </p:nvSpPr>
        <p:spPr>
          <a:xfrm>
            <a:off x="7772280" y="5822341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26" name="Title 9">
            <a:extLst>
              <a:ext uri="{FF2B5EF4-FFF2-40B4-BE49-F238E27FC236}">
                <a16:creationId xmlns:a16="http://schemas.microsoft.com/office/drawing/2014/main" id="{B188F769-DBB7-AA4C-1F19-796B06D67192}"/>
              </a:ext>
            </a:extLst>
          </p:cNvPr>
          <p:cNvSpPr txBox="1">
            <a:spLocks/>
          </p:cNvSpPr>
          <p:nvPr userDrawn="1"/>
        </p:nvSpPr>
        <p:spPr>
          <a:xfrm>
            <a:off x="7772280" y="6625111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 dirty="0">
                <a:solidFill>
                  <a:schemeClr val="bg2"/>
                </a:solidFill>
                <a:latin typeface="Arial" panose="020B0604020202020204" pitchFamily="34" charset="0"/>
              </a:rPr>
              <a:t>7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C2E2455-EAEB-1EA4-BD15-2C41E3556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95500" y="1909130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0E5B660-0CC3-BF26-5916-82E3ADA2C1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95500" y="2702530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A930B824-518E-B601-E5BE-0ED4BF887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95500" y="3485044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567ADC4-8253-FC75-B797-5AD245806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95500" y="4289337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FBCB11E1-87EB-B5AA-AE81-604A376C69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95500" y="5070240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699CE10C-6801-26BA-3FE5-7451D1B640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95500" y="5871689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2441104-FC64-EFE0-FBAA-9132FB9865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95500" y="6665091"/>
            <a:ext cx="5465202" cy="510585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19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1367">
          <p15:clr>
            <a:srgbClr val="FBAE40"/>
          </p15:clr>
        </p15:guide>
        <p15:guide id="3" orient="horz" pos="1050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947025" y="2079486"/>
            <a:ext cx="6013450" cy="5275402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4585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76947D55-0EAE-DEF6-30FD-A190B1CFBC9F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7946798" y="2079625"/>
            <a:ext cx="6024789" cy="52752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251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7680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6"/>
            <a:ext cx="6193064" cy="15906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6">
            <a:extLst>
              <a:ext uri="{FF2B5EF4-FFF2-40B4-BE49-F238E27FC236}">
                <a16:creationId xmlns:a16="http://schemas.microsoft.com/office/drawing/2014/main" id="{C5C37120-1629-7434-5296-100D28361439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7935913" y="2079487"/>
            <a:ext cx="6024562" cy="52754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623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8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8" y="3704230"/>
            <a:ext cx="6481763" cy="36506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9861" y="134898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789862" y="1858676"/>
            <a:ext cx="6181726" cy="2256126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4345464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4855157"/>
            <a:ext cx="6181726" cy="248678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5699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 dirty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704230"/>
            <a:ext cx="6481763" cy="36506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9861" y="134898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789862" y="1858675"/>
            <a:ext cx="6181725" cy="2256126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4345463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4855156"/>
            <a:ext cx="6181725" cy="248678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5621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-2381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49" y="2973724"/>
            <a:ext cx="6481763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48981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483428"/>
            <a:ext cx="6492876" cy="127764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9861" y="134898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5361763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5970294"/>
            <a:ext cx="2942305" cy="1384594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FD6E937-4DCD-1638-3553-74F7FD7BC5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4049" y="5577515"/>
            <a:ext cx="6481763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C0EA3B8-BF3B-5B88-5AD0-C8BEADC0E8E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937" y="6087219"/>
            <a:ext cx="6492876" cy="127764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4AAFA22-15CC-3A99-E41A-44E24C05E17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018397" y="5970294"/>
            <a:ext cx="2942305" cy="1384594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B25EE8C-1276-DF31-C1E0-19AFFC37982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789862" y="1957511"/>
            <a:ext cx="2942305" cy="311882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41C3A3B7-3A69-579C-A396-6FF71E1F61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018397" y="1957511"/>
            <a:ext cx="2942305" cy="311882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5105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35120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5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29"/>
            <a:ext cx="6181725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3185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35120"/>
            <a:ext cx="13306652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5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29"/>
            <a:ext cx="6181725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6432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5CC48F4-1382-A431-B6A5-128C98B360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4614" t="32918" r="25019" b="32918"/>
          <a:stretch/>
        </p:blipFill>
        <p:spPr>
          <a:xfrm>
            <a:off x="0" y="-1"/>
            <a:ext cx="7315200" cy="8229601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5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29"/>
            <a:ext cx="6181725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335120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F2AE71EE-DE37-25FC-7367-FD8DB06933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1" y="322821"/>
            <a:ext cx="1654547" cy="437676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923DB61-3194-E269-BAC3-50C7C95C5541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004263E-B111-25AD-C5B9-AAFBAD5594E9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5422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1F48185-4A90-1F41-9965-C14A4B5DE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043" t="37398" r="-7164" b="37398"/>
          <a:stretch/>
        </p:blipFill>
        <p:spPr>
          <a:xfrm>
            <a:off x="0" y="4114800"/>
            <a:ext cx="12590855" cy="4114800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0" y="4597337"/>
            <a:ext cx="6181725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4015087-DD4C-4BEB-C938-55F4481B8D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1" y="4597337"/>
            <a:ext cx="6181725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873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mparison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0" y="4597337"/>
            <a:ext cx="6181725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4015087-DD4C-4BEB-C938-55F4481B8D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1" y="4597337"/>
            <a:ext cx="6181725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88D0D6C-8324-3C50-5D98-EDDFCA9AD77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89861" y="6224285"/>
            <a:ext cx="6181725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9691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mparison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4746174"/>
            <a:ext cx="14630401" cy="3483426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71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406136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FCA953-571E-B7D5-ACEC-5E462272BF1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0788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9CF1158-A461-089C-58B6-4965E048C92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505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EE4821D-5F4A-9F5D-A3F9-818DD12FA00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222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80F95A5-58F3-0627-AC8B-11C804EF367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5939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AF30503-40E4-1CC8-935D-8FD9179490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765644" y="5421087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BB770F8-146D-0C18-5703-B0A5EC2FD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07144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AAC1F5D-6D5F-E6F2-3B8D-0C4675B9CF3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083380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8BFA5280-2B70-F987-95D7-009D4551D8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257801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107B6A0-1E6E-EE7D-52B3-477534D4409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422244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3BB75DD2-9B14-0D29-EAD8-9740DE08908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93944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1A39C4F7-8756-9189-ECB3-A4EAA943EA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1765644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9116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959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0"/>
            <a:ext cx="14630401" cy="41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A54B756-9183-3E11-CB28-0067F4E6C8AF}"/>
              </a:ext>
            </a:extLst>
          </p:cNvPr>
          <p:cNvCxnSpPr>
            <a:cxnSpLocks/>
          </p:cNvCxnSpPr>
          <p:nvPr userDrawn="1"/>
        </p:nvCxnSpPr>
        <p:spPr>
          <a:xfrm>
            <a:off x="654050" y="4114800"/>
            <a:ext cx="13317538" cy="0"/>
          </a:xfrm>
          <a:prstGeom prst="line">
            <a:avLst/>
          </a:prstGeom>
          <a:ln w="31750" cap="sq">
            <a:solidFill>
              <a:schemeClr val="bg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0ACC6DE4-1455-080B-D73B-55797DDD800F}"/>
              </a:ext>
            </a:extLst>
          </p:cNvPr>
          <p:cNvSpPr/>
          <p:nvPr userDrawn="1"/>
        </p:nvSpPr>
        <p:spPr>
          <a:xfrm>
            <a:off x="526811" y="3987561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1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CA671DEF-2F90-D579-B059-EF688EAD1672}"/>
              </a:ext>
            </a:extLst>
          </p:cNvPr>
          <p:cNvSpPr/>
          <p:nvPr userDrawn="1"/>
        </p:nvSpPr>
        <p:spPr>
          <a:xfrm>
            <a:off x="2759036" y="3987561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2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1C65D65-0B85-9F75-4461-B870D52CBF2A}"/>
              </a:ext>
            </a:extLst>
          </p:cNvPr>
          <p:cNvSpPr/>
          <p:nvPr userDrawn="1"/>
        </p:nvSpPr>
        <p:spPr>
          <a:xfrm>
            <a:off x="4991261" y="3987561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E874A254-DB98-7647-1A30-471F328492B0}"/>
              </a:ext>
            </a:extLst>
          </p:cNvPr>
          <p:cNvSpPr/>
          <p:nvPr userDrawn="1"/>
        </p:nvSpPr>
        <p:spPr>
          <a:xfrm>
            <a:off x="7223486" y="3987560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4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D9F68A79-2A33-1D55-F2E4-C1C6DA2F01FB}"/>
              </a:ext>
            </a:extLst>
          </p:cNvPr>
          <p:cNvSpPr/>
          <p:nvPr userDrawn="1"/>
        </p:nvSpPr>
        <p:spPr>
          <a:xfrm>
            <a:off x="9455711" y="3987560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5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196A40C2-3679-6996-E403-76919CA0EB21}"/>
              </a:ext>
            </a:extLst>
          </p:cNvPr>
          <p:cNvSpPr/>
          <p:nvPr userDrawn="1"/>
        </p:nvSpPr>
        <p:spPr>
          <a:xfrm>
            <a:off x="11687935" y="3987560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6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97EB1A0-13ED-A58D-7A26-E7587BE64A32}"/>
              </a:ext>
            </a:extLst>
          </p:cNvPr>
          <p:cNvCxnSpPr>
            <a:cxnSpLocks/>
            <a:stCxn id="56" idx="4"/>
          </p:cNvCxnSpPr>
          <p:nvPr userDrawn="1"/>
        </p:nvCxnSpPr>
        <p:spPr>
          <a:xfrm>
            <a:off x="654050" y="4242039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939C886-CA26-1E2C-7187-5E1A17D30BB0}"/>
              </a:ext>
            </a:extLst>
          </p:cNvPr>
          <p:cNvCxnSpPr>
            <a:cxnSpLocks/>
            <a:stCxn id="59" idx="4"/>
          </p:cNvCxnSpPr>
          <p:nvPr userDrawn="1"/>
        </p:nvCxnSpPr>
        <p:spPr>
          <a:xfrm flipH="1">
            <a:off x="2880752" y="4242039"/>
            <a:ext cx="5523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C520669-3D54-B327-D18D-5529A572B3D3}"/>
              </a:ext>
            </a:extLst>
          </p:cNvPr>
          <p:cNvCxnSpPr>
            <a:cxnSpLocks/>
            <a:stCxn id="62" idx="4"/>
          </p:cNvCxnSpPr>
          <p:nvPr userDrawn="1"/>
        </p:nvCxnSpPr>
        <p:spPr>
          <a:xfrm>
            <a:off x="5118500" y="4242039"/>
            <a:ext cx="5523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71662CE-E47D-DD87-FEB6-6F96AD81D8C5}"/>
              </a:ext>
            </a:extLst>
          </p:cNvPr>
          <p:cNvCxnSpPr>
            <a:cxnSpLocks/>
            <a:stCxn id="65" idx="4"/>
          </p:cNvCxnSpPr>
          <p:nvPr userDrawn="1"/>
        </p:nvCxnSpPr>
        <p:spPr>
          <a:xfrm flipH="1">
            <a:off x="7350724" y="4242038"/>
            <a:ext cx="1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939F164-502F-C17C-26D3-6FBFC1E12E67}"/>
              </a:ext>
            </a:extLst>
          </p:cNvPr>
          <p:cNvCxnSpPr>
            <a:cxnSpLocks/>
            <a:stCxn id="68" idx="4"/>
          </p:cNvCxnSpPr>
          <p:nvPr userDrawn="1"/>
        </p:nvCxnSpPr>
        <p:spPr>
          <a:xfrm>
            <a:off x="9582950" y="4242038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57A2F21E-38E4-49E1-B7F9-5C8BD9CA5CBB}"/>
              </a:ext>
            </a:extLst>
          </p:cNvPr>
          <p:cNvCxnSpPr>
            <a:cxnSpLocks/>
            <a:stCxn id="71" idx="4"/>
          </p:cNvCxnSpPr>
          <p:nvPr userDrawn="1"/>
        </p:nvCxnSpPr>
        <p:spPr>
          <a:xfrm>
            <a:off x="11815174" y="4242038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9404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0"/>
            <a:ext cx="14630401" cy="41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A54B756-9183-3E11-CB28-0067F4E6C8AF}"/>
              </a:ext>
            </a:extLst>
          </p:cNvPr>
          <p:cNvCxnSpPr>
            <a:cxnSpLocks/>
          </p:cNvCxnSpPr>
          <p:nvPr userDrawn="1"/>
        </p:nvCxnSpPr>
        <p:spPr>
          <a:xfrm>
            <a:off x="654050" y="4114800"/>
            <a:ext cx="13317538" cy="0"/>
          </a:xfrm>
          <a:prstGeom prst="line">
            <a:avLst/>
          </a:prstGeom>
          <a:ln w="31750" cap="sq">
            <a:solidFill>
              <a:schemeClr val="bg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9736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-2381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2973725"/>
            <a:ext cx="6481763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1348982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483428"/>
            <a:ext cx="6492876" cy="127764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9861" y="134898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5361763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3" y="5970294"/>
            <a:ext cx="2942305" cy="1384594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FD6E937-4DCD-1638-3553-74F7FD7BC5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4050" y="5577515"/>
            <a:ext cx="6481763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C0EA3B8-BF3B-5B88-5AD0-C8BEADC0E8E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937" y="6087220"/>
            <a:ext cx="6492876" cy="127764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4AAFA22-15CC-3A99-E41A-44E24C05E17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018398" y="5970294"/>
            <a:ext cx="2942305" cy="1384594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B25EE8C-1276-DF31-C1E0-19AFFC37982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789863" y="1957512"/>
            <a:ext cx="2942305" cy="311882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41C3A3B7-3A69-579C-A396-6FF71E1F61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018398" y="1957512"/>
            <a:ext cx="2942305" cy="311882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942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0" y="1348981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13317538" cy="73548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218659"/>
            <a:ext cx="13317538" cy="413623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9508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62214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406137"/>
            <a:ext cx="8979807" cy="953342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BB770F8-146D-0C18-5703-B0A5EC2FD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2214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Block Arc 1">
            <a:extLst>
              <a:ext uri="{FF2B5EF4-FFF2-40B4-BE49-F238E27FC236}">
                <a16:creationId xmlns:a16="http://schemas.microsoft.com/office/drawing/2014/main" id="{E792BF59-14B1-484D-D23E-AAAF55BB2557}"/>
              </a:ext>
            </a:extLst>
          </p:cNvPr>
          <p:cNvSpPr/>
          <p:nvPr userDrawn="1"/>
        </p:nvSpPr>
        <p:spPr>
          <a:xfrm>
            <a:off x="66221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Block Arc 2">
            <a:extLst>
              <a:ext uri="{FF2B5EF4-FFF2-40B4-BE49-F238E27FC236}">
                <a16:creationId xmlns:a16="http://schemas.microsoft.com/office/drawing/2014/main" id="{C83F0C49-2E7F-8399-3F49-AFD9AFB51DF1}"/>
              </a:ext>
            </a:extLst>
          </p:cNvPr>
          <p:cNvSpPr/>
          <p:nvPr userDrawn="1"/>
        </p:nvSpPr>
        <p:spPr>
          <a:xfrm>
            <a:off x="2119673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DD901083-529F-EECC-83E0-A1C296B7EFBC}"/>
              </a:ext>
            </a:extLst>
          </p:cNvPr>
          <p:cNvSpPr/>
          <p:nvPr userDrawn="1"/>
        </p:nvSpPr>
        <p:spPr>
          <a:xfrm>
            <a:off x="3577131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B64244F8-43A2-76EB-285B-1957A0389376}"/>
              </a:ext>
            </a:extLst>
          </p:cNvPr>
          <p:cNvSpPr/>
          <p:nvPr userDrawn="1"/>
        </p:nvSpPr>
        <p:spPr>
          <a:xfrm>
            <a:off x="502626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Block Arc 16">
            <a:extLst>
              <a:ext uri="{FF2B5EF4-FFF2-40B4-BE49-F238E27FC236}">
                <a16:creationId xmlns:a16="http://schemas.microsoft.com/office/drawing/2014/main" id="{2C1ECC12-D4C2-94B6-4138-FE1F45AB1A38}"/>
              </a:ext>
            </a:extLst>
          </p:cNvPr>
          <p:cNvSpPr/>
          <p:nvPr userDrawn="1"/>
        </p:nvSpPr>
        <p:spPr>
          <a:xfrm>
            <a:off x="6483722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7730BD48-05AE-FC26-A7DD-4D9098F99CC9}"/>
              </a:ext>
            </a:extLst>
          </p:cNvPr>
          <p:cNvSpPr/>
          <p:nvPr userDrawn="1"/>
        </p:nvSpPr>
        <p:spPr>
          <a:xfrm>
            <a:off x="7941181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CE356852-A97F-2238-595D-6E4DF9600424}"/>
              </a:ext>
            </a:extLst>
          </p:cNvPr>
          <p:cNvSpPr/>
          <p:nvPr userDrawn="1"/>
        </p:nvSpPr>
        <p:spPr>
          <a:xfrm>
            <a:off x="9398640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2926C4F9-297F-D20E-DD9A-E07517314604}"/>
              </a:ext>
            </a:extLst>
          </p:cNvPr>
          <p:cNvSpPr/>
          <p:nvPr userDrawn="1"/>
        </p:nvSpPr>
        <p:spPr>
          <a:xfrm>
            <a:off x="10856098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Block Arc 25">
            <a:extLst>
              <a:ext uri="{FF2B5EF4-FFF2-40B4-BE49-F238E27FC236}">
                <a16:creationId xmlns:a16="http://schemas.microsoft.com/office/drawing/2014/main" id="{64E0FCD9-B4FE-F1CD-B3A8-63FAD62B7BD3}"/>
              </a:ext>
            </a:extLst>
          </p:cNvPr>
          <p:cNvSpPr/>
          <p:nvPr userDrawn="1"/>
        </p:nvSpPr>
        <p:spPr>
          <a:xfrm>
            <a:off x="1233003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9C84E24-9AB8-9866-F6EC-14EFDCAA76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292882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6D9CBE-24A7-15DD-190C-49FBBB613C5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292882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8BAF851-D0E2-45EC-CD7E-3CDAFEFB783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02531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EDC6C58-FFA7-B881-95E2-25ABF227207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02531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F15C8AB7-85DC-B97C-0766-E27489D906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33199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81A63413-062B-F36C-19C2-557E3240413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33199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94945E23-06E1-AACC-770D-123724B3826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492690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DC309C6-527F-2C81-142D-18C4C5F87E3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492690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01B5CB51-C3DB-1923-2CA7-3F77E5627EF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123358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10288D6F-F2B5-3F9D-CD9B-D1990406B71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23358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D37D360-46F2-FF35-EC21-A45D5A004D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424041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6E433D96-6482-AE9E-26FA-1E225676CB9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424041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59B0D1DA-0EED-A57C-749B-0575A556919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054709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ECF57A6-AB74-2003-30FA-A67FE64B8ED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054709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4A6A2CEE-AE65-55EA-8DF1-5CB865943C6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2330034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429EA313-FD08-371D-00CD-DEF8809B71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2330034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9588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959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7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7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62214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0" y="352096"/>
            <a:ext cx="1437015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1406137"/>
            <a:ext cx="8979807" cy="953342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BB770F8-146D-0C18-5703-B0A5EC2FD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2214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9C84E24-9AB8-9866-F6EC-14EFDCAA76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292882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6D9CBE-24A7-15DD-190C-49FBBB613C5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292882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8BAF851-D0E2-45EC-CD7E-3CDAFEFB783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02531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EDC6C58-FFA7-B881-95E2-25ABF227207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02531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F15C8AB7-85DC-B97C-0766-E27489D906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33199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81A63413-062B-F36C-19C2-557E3240413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33199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94945E23-06E1-AACC-770D-123724B3826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492690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DC309C6-527F-2C81-142D-18C4C5F87E3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492690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01B5CB51-C3DB-1923-2CA7-3F77E5627EF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123358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10288D6F-F2B5-3F9D-CD9B-D1990406B71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23358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D37D360-46F2-FF35-EC21-A45D5A004D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424041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6E433D96-6482-AE9E-26FA-1E225676CB9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424041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59B0D1DA-0EED-A57C-749B-0575A556919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054709" y="262778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ECF57A6-AB74-2003-30FA-A67FE64B8ED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054709" y="220355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4A6A2CEE-AE65-55EA-8DF1-5CB865943C6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2330034" y="6061734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5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720" indent="-27432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32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840" indent="-365760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429EA313-FD08-371D-00CD-DEF8809B71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2330034" y="5637506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2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40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56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6080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367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959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4988" t="36166" b="22343"/>
          <a:stretch/>
        </p:blipFill>
        <p:spPr>
          <a:xfrm>
            <a:off x="0" y="0"/>
            <a:ext cx="11730584" cy="7486483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2807" y="463025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53372" y="1631918"/>
            <a:ext cx="3092888" cy="222220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2807" y="535549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2194BD-6A0C-FCC3-E5FF-33B8BFF22404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A2F9120-4EF5-53C5-0A3C-BCA4D61A1365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81E246-BB91-FF3C-F1B5-443DAD88639E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C73759B-753D-1AC6-6E1D-4B4B344866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2807" y="595266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1BFACB9-FE01-386B-D4E9-F1496615E7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2807" y="651192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DFCA23-E3DC-F8D0-6E3D-71C15CE02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2807" y="2617013"/>
            <a:ext cx="5226457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BFCE077-0E6F-689C-42F8-59083DC1FEE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653ACE-ED3A-13E9-7FE3-F4CEB93EC004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848579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4588" y="1913756"/>
            <a:ext cx="5226457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65795" y="2822702"/>
            <a:ext cx="3426199" cy="246168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8E13D35-49BE-0F9A-E988-B1509449EEDC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C301B60-D07C-9E18-48E2-BAD4E8FB8826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7A4E31-5F1F-1542-8A4A-FB3D5626A50D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A65A20E-5CD8-9F1E-9312-274AD2DD5F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4588" y="401193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EE02745-723E-452A-7BD9-3A0A47644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4588" y="473717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3E050E7-D376-7CB7-7B6F-6567B7B383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4588" y="533434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41BA115-7378-3D1B-ACF1-D9C34C7ADC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94588" y="589360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6BE8BA4-FF09-9A2C-A914-87A1C86116F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A9C073C-F6DA-40E5-82A5-B4C91E94F35E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29208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ndigo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2869" t="32329" r="23419" b="32329"/>
          <a:stretch/>
        </p:blipFill>
        <p:spPr>
          <a:xfrm>
            <a:off x="0" y="-1"/>
            <a:ext cx="7850038" cy="8229601"/>
          </a:xfrm>
          <a:prstGeom prst="rect">
            <a:avLst/>
          </a:prstGeom>
        </p:spPr>
      </p:pic>
      <p:pic>
        <p:nvPicPr>
          <p:cNvPr id="4" name="Google Shape;101;p16">
            <a:extLst>
              <a:ext uri="{FF2B5EF4-FFF2-40B4-BE49-F238E27FC236}">
                <a16:creationId xmlns:a16="http://schemas.microsoft.com/office/drawing/2014/main" id="{9877002A-4F3A-E7A7-7265-49E111B971E9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654050" y="3614059"/>
            <a:ext cx="4399535" cy="116556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07F5FC-876A-F468-E5E0-C63102A793AA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FF51128-CB71-AF4E-0555-90F85255DF15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137B12-43BF-9E8C-D4BB-40CA769AE423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3C440A6-0999-717A-0221-50EF957A2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4588" y="1913756"/>
            <a:ext cx="5226457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2D9C1F3-A149-019C-AD68-6CAAF54CB6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4588" y="401193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E0E6ABE-26A6-5B22-DE4B-91BF7AF9D4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4588" y="473717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38E78C2-9C87-7CB2-BCAD-E97DAD95EC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4588" y="533434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6E391D7-2DFC-CAFB-E678-F676360A17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94588" y="589360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BD7C80A-5B96-CCFB-2B0D-6BD30CCBD233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9890A7D-C6EE-14AC-0B08-10E8B25B811D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7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328722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digo 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 userDrawn="1"/>
        </p:nvSpPr>
        <p:spPr>
          <a:xfrm>
            <a:off x="0" y="0"/>
            <a:ext cx="11526982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871634F-766C-B8AE-D2B2-959E9B1D9A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591633"/>
            <a:ext cx="5619113" cy="2087977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6000" b="0" i="0">
                <a:solidFill>
                  <a:srgbClr val="FFFFFF"/>
                </a:solidFill>
                <a:latin typeface="Museo Sans 300" panose="02000000000000000000" pitchFamily="2" charset="77"/>
              </a:defRPr>
            </a:lvl1pPr>
          </a:lstStyle>
          <a:p>
            <a:pPr algn="l"/>
            <a:r>
              <a:rPr lang="en-US" sz="5400"/>
              <a:t>This would</a:t>
            </a:r>
            <a:br>
              <a:rPr lang="en-US" sz="5400"/>
            </a:br>
            <a:r>
              <a:rPr lang="en-US" sz="540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E050994-6BA5-2D9D-6B3F-7D3F46DEF8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4" y="5965780"/>
            <a:ext cx="5619112" cy="5097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solidFill>
                  <a:srgbClr val="FFFFFF"/>
                </a:solidFill>
                <a:latin typeface="Museo Sans 300" panose="02000000000000000000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Picture 1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B9B3039-E11C-6BEA-CA97-9C1451856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4800" y="-498764"/>
            <a:ext cx="2687782" cy="268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3004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AFEAC58-4374-851B-A9F8-6F8AAC3433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23 Medecision, Inc. Proprietary and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997672-E03A-81A2-0F59-17FAB56C22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574D42D-4BBA-74BB-2013-44F191C2D61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69925" y="2131535"/>
            <a:ext cx="13290550" cy="52177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>
                <a:latin typeface="Museo Sans 300" panose="02000000000000000000" pitchFamily="2" charset="77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2000" b="0" i="0">
                <a:latin typeface="Museo Sans 300" panose="02000000000000000000" pitchFamily="2" charset="77"/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000" b="0" i="0">
                <a:latin typeface="Museo Sans 300" panose="02000000000000000000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0381E9E2-430A-EE7A-97B1-B87A596073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4201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1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1BD8B962-40C9-E93C-57E2-C013084E7F4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1pPr>
          </a:lstStyle>
          <a:p>
            <a:pPr lvl="0"/>
            <a:r>
              <a:rPr lang="en-US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16060861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1335121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6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30"/>
            <a:ext cx="6181726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8440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89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886505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DEF87F6-4F6B-E1A9-0B00-428FC053C162}"/>
              </a:ext>
            </a:extLst>
          </p:cNvPr>
          <p:cNvSpPr/>
          <p:nvPr userDrawn="1"/>
        </p:nvSpPr>
        <p:spPr>
          <a:xfrm>
            <a:off x="1" y="0"/>
            <a:ext cx="4374776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13317538" cy="73548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218659"/>
            <a:ext cx="13317538" cy="413623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8624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28C9769-9AA9-3A24-C3D0-9C8871E546E6}"/>
              </a:ext>
            </a:extLst>
          </p:cNvPr>
          <p:cNvSpPr/>
          <p:nvPr userDrawn="1"/>
        </p:nvSpPr>
        <p:spPr>
          <a:xfrm>
            <a:off x="-1" y="1"/>
            <a:ext cx="14630401" cy="386614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13317538" cy="73548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218659"/>
            <a:ext cx="13317538" cy="413623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0045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28C9769-9AA9-3A24-C3D0-9C8871E546E6}"/>
              </a:ext>
            </a:extLst>
          </p:cNvPr>
          <p:cNvSpPr/>
          <p:nvPr userDrawn="1"/>
        </p:nvSpPr>
        <p:spPr>
          <a:xfrm>
            <a:off x="-1" y="0"/>
            <a:ext cx="14630401" cy="308386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134898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1" y="352097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13317538" cy="73548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218659"/>
            <a:ext cx="13317538" cy="413623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91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72" indent="-274309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21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708" indent="-365746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5770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claim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781" t="35478" r="11588" b="35478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3" name="Google Shape;101;p16">
            <a:extLst>
              <a:ext uri="{FF2B5EF4-FFF2-40B4-BE49-F238E27FC236}">
                <a16:creationId xmlns:a16="http://schemas.microsoft.com/office/drawing/2014/main" id="{D752E41C-C841-655F-A925-A8661D6282AA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469919" y="444250"/>
            <a:ext cx="3042064" cy="8059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1BB3536-B125-5971-5695-2B15824DC225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F9A903A-25AE-81EC-3F0D-85BDE8710ACE}"/>
              </a:ext>
            </a:extLst>
          </p:cNvPr>
          <p:cNvSpPr txBox="1"/>
          <p:nvPr userDrawn="1"/>
        </p:nvSpPr>
        <p:spPr>
          <a:xfrm>
            <a:off x="7982807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034928-B662-9F21-560E-D1F1E737044B}"/>
              </a:ext>
            </a:extLst>
          </p:cNvPr>
          <p:cNvSpPr txBox="1"/>
          <p:nvPr userDrawn="1"/>
        </p:nvSpPr>
        <p:spPr>
          <a:xfrm>
            <a:off x="654050" y="7655897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80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B72C7FB-50B1-4459-063C-C857934E10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654049" y="2837517"/>
            <a:ext cx="10532506" cy="420956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pyright © 2024 by Medecision, Inc. All rights reserved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o parts of this document may be reproduced, transmitted, or stored electronically without </a:t>
            </a:r>
            <a:r>
              <a:rPr lang="en-US" dirty="0" err="1"/>
              <a:t>Medecision’s</a:t>
            </a:r>
            <a:r>
              <a:rPr lang="en-US" dirty="0"/>
              <a:t> prior written permission. </a:t>
            </a:r>
            <a:br>
              <a:rPr lang="en-US" dirty="0"/>
            </a:br>
            <a:endParaRPr lang="en-US" dirty="0"/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SzTx/>
              <a:buFont typeface="Arial" charset="0"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This document contains </a:t>
            </a:r>
            <a:r>
              <a:rPr lang="en-US" sz="1800" dirty="0" err="1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Medecision’s</a:t>
            </a:r>
            <a:r>
              <a:rPr lang="en-US" sz="18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 confidential or proprietary information. </a:t>
            </a:r>
            <a:br>
              <a:rPr lang="en-US" sz="18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</a:br>
            <a:br>
              <a:rPr lang="en-US" sz="18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</a:br>
            <a:r>
              <a:rPr lang="en-US" sz="18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By accepting this document, you agree that: (A)(1) if a pre-existing contract containing disclosure and use restrictions exists between your company and Medecision, you and your company will use this information subject to the terms of the pre-existing contract; or (2) if no such pre-existing contract exists, you and your Company agree to protect this information and not reproduce or disclose the information in any way; and (B) Medecision makes no warranties, express or implied, in this document, and Medecision shall not be liable for damages of any kind arising out of use of this document.</a:t>
            </a:r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9B43F0ED-FB8C-6F12-48DA-4D85DF9B06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654050" y="1694431"/>
            <a:ext cx="10532506" cy="93799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Medecision Proprietary and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8272712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91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57371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91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329" b="32329"/>
          <a:stretch/>
        </p:blipFill>
        <p:spPr>
          <a:xfrm>
            <a:off x="-4327779" y="-1"/>
            <a:ext cx="23285960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89177" y="2371733"/>
            <a:ext cx="4852048" cy="3486136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2194BD-6A0C-FCC3-E5FF-33B8BFF22404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A2F9120-4EF5-53C5-0A3C-BCA4D61A1365}"/>
              </a:ext>
            </a:extLst>
          </p:cNvPr>
          <p:cNvSpPr txBox="1"/>
          <p:nvPr userDrawn="1"/>
        </p:nvSpPr>
        <p:spPr>
          <a:xfrm>
            <a:off x="7982810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81E246-BB91-FF3C-F1B5-443DAD88639E}"/>
              </a:ext>
            </a:extLst>
          </p:cNvPr>
          <p:cNvSpPr txBox="1"/>
          <p:nvPr userDrawn="1"/>
        </p:nvSpPr>
        <p:spPr>
          <a:xfrm>
            <a:off x="654052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B84B0D-E7F8-F71D-A56B-2F7688800477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736C7A-8F0E-7F2E-3710-75C4B9DE78F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53345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9601" y="3258528"/>
            <a:ext cx="3941446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52881" y="2822704"/>
            <a:ext cx="3426199" cy="246168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8E13D35-49BE-0F9A-E988-B1509449EEDC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C301B60-D07C-9E18-48E2-BAD4E8FB8826}"/>
              </a:ext>
            </a:extLst>
          </p:cNvPr>
          <p:cNvSpPr txBox="1"/>
          <p:nvPr userDrawn="1"/>
        </p:nvSpPr>
        <p:spPr>
          <a:xfrm>
            <a:off x="7982810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7A4E31-5F1F-1542-8A4A-FB3D5626A50D}"/>
              </a:ext>
            </a:extLst>
          </p:cNvPr>
          <p:cNvSpPr txBox="1"/>
          <p:nvPr userDrawn="1"/>
        </p:nvSpPr>
        <p:spPr>
          <a:xfrm>
            <a:off x="654052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5D1788-7E0A-38F4-3FDB-FDF81C6F59BA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3007EC1-B5DE-B642-B0A5-67C456CF28A5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3121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9601" y="3158900"/>
            <a:ext cx="3941446" cy="19992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4" name="Google Shape;101;p16">
            <a:extLst>
              <a:ext uri="{FF2B5EF4-FFF2-40B4-BE49-F238E27FC236}">
                <a16:creationId xmlns:a16="http://schemas.microsoft.com/office/drawing/2014/main" id="{9877002A-4F3A-E7A7-7265-49E111B971E9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894463" y="3614061"/>
            <a:ext cx="4399535" cy="116556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07F5FC-876A-F468-E5E0-C63102A793AA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FF51128-CB71-AF4E-0555-90F85255DF15}"/>
              </a:ext>
            </a:extLst>
          </p:cNvPr>
          <p:cNvSpPr txBox="1"/>
          <p:nvPr userDrawn="1"/>
        </p:nvSpPr>
        <p:spPr>
          <a:xfrm>
            <a:off x="7982810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137B12-43BF-9E8C-D4BB-40CA769AE423}"/>
              </a:ext>
            </a:extLst>
          </p:cNvPr>
          <p:cNvSpPr txBox="1"/>
          <p:nvPr userDrawn="1"/>
        </p:nvSpPr>
        <p:spPr>
          <a:xfrm>
            <a:off x="654052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8DD1F60-969C-0E61-D808-09249059C93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ED66D1-70D9-003D-05DC-C37386E0736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34772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evider 2">
    <p:bg bwMode="auto">
      <p:bgPr>
        <a:solidFill>
          <a:srgbClr val="242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C0ECAFE2-6D51-1D4F-80C5-DE7DF0D6E94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4717" t="15849" b="28468"/>
          <a:stretch/>
        </p:blipFill>
        <p:spPr>
          <a:xfrm>
            <a:off x="41142" y="31223"/>
            <a:ext cx="9611803" cy="81983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363387" y="3367011"/>
            <a:ext cx="9608202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7999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359787" y="2402131"/>
            <a:ext cx="9611802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53810E7-4266-1E4E-8CB0-400FDB95139C}"/>
              </a:ext>
            </a:extLst>
          </p:cNvPr>
          <p:cNvCxnSpPr>
            <a:cxnSpLocks/>
          </p:cNvCxnSpPr>
          <p:nvPr/>
        </p:nvCxnSpPr>
        <p:spPr>
          <a:xfrm>
            <a:off x="2714626" y="7664592"/>
            <a:ext cx="1125331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1FEF8CD-DD84-46F7-9D2D-07FB38072B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4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/>
              <a:t>© 2023 Medecision, Inc. Proprietary and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95525F0-D969-4579-BE7B-F2C2AD9BE7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1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bg1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FA2C9F0-D804-6049-A609-BC9E344162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0082" y="7404143"/>
            <a:ext cx="1842095" cy="4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110059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. Title-Logo">
    <p:bg>
      <p:bgPr>
        <a:solidFill>
          <a:srgbClr val="242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EFA3FD4E-3948-5F42-8C94-D7E3D22AC7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93513" y="2432521"/>
            <a:ext cx="4043374" cy="2905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926398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89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329" b="32329"/>
          <a:stretch/>
        </p:blipFill>
        <p:spPr>
          <a:xfrm>
            <a:off x="-4327779" y="-1"/>
            <a:ext cx="23285960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89177" y="2371733"/>
            <a:ext cx="4852048" cy="3486136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2194BD-6A0C-FCC3-E5FF-33B8BFF22404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A2F9120-4EF5-53C5-0A3C-BCA4D61A1365}"/>
              </a:ext>
            </a:extLst>
          </p:cNvPr>
          <p:cNvSpPr txBox="1"/>
          <p:nvPr userDrawn="1"/>
        </p:nvSpPr>
        <p:spPr>
          <a:xfrm>
            <a:off x="7982809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36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81E246-BB91-FF3C-F1B5-443DAD88639E}"/>
              </a:ext>
            </a:extLst>
          </p:cNvPr>
          <p:cNvSpPr txBox="1"/>
          <p:nvPr userDrawn="1"/>
        </p:nvSpPr>
        <p:spPr>
          <a:xfrm>
            <a:off x="654051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36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B84B0D-E7F8-F71D-A56B-2F7688800477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736C7A-8F0E-7F2E-3710-75C4B9DE78F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26067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91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112737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368591" y="4699788"/>
            <a:ext cx="12617450" cy="9233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2329" b="32329"/>
          <a:stretch/>
        </p:blipFill>
        <p:spPr>
          <a:xfrm>
            <a:off x="-4327779" y="-1"/>
            <a:ext cx="23285960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89177" y="2371733"/>
            <a:ext cx="4852048" cy="3486136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0F5D3AB-1385-F34A-E6C2-E09731E99AFE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2194BD-6A0C-FCC3-E5FF-33B8BFF22404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A2F9120-4EF5-53C5-0A3C-BCA4D61A1365}"/>
              </a:ext>
            </a:extLst>
          </p:cNvPr>
          <p:cNvSpPr txBox="1"/>
          <p:nvPr userDrawn="1"/>
        </p:nvSpPr>
        <p:spPr>
          <a:xfrm>
            <a:off x="7982810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81E246-BB91-FF3C-F1B5-443DAD88639E}"/>
              </a:ext>
            </a:extLst>
          </p:cNvPr>
          <p:cNvSpPr txBox="1"/>
          <p:nvPr userDrawn="1"/>
        </p:nvSpPr>
        <p:spPr>
          <a:xfrm>
            <a:off x="654052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6984241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9601" y="3258528"/>
            <a:ext cx="3941446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52881" y="2822704"/>
            <a:ext cx="3426199" cy="246168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BE2AB25-73A3-624F-7217-20CF9F91EAA3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8E13D35-49BE-0F9A-E988-B1509449EEDC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C301B60-D07C-9E18-48E2-BAD4E8FB8826}"/>
              </a:ext>
            </a:extLst>
          </p:cNvPr>
          <p:cNvSpPr txBox="1"/>
          <p:nvPr userDrawn="1"/>
        </p:nvSpPr>
        <p:spPr>
          <a:xfrm>
            <a:off x="7982810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7A4E31-5F1F-1542-8A4A-FB3D5626A50D}"/>
              </a:ext>
            </a:extLst>
          </p:cNvPr>
          <p:cNvSpPr txBox="1"/>
          <p:nvPr userDrawn="1"/>
        </p:nvSpPr>
        <p:spPr>
          <a:xfrm>
            <a:off x="654052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155965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9601" y="3158900"/>
            <a:ext cx="3941446" cy="19992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2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4" name="Google Shape;101;p16">
            <a:extLst>
              <a:ext uri="{FF2B5EF4-FFF2-40B4-BE49-F238E27FC236}">
                <a16:creationId xmlns:a16="http://schemas.microsoft.com/office/drawing/2014/main" id="{9877002A-4F3A-E7A7-7265-49E111B971E9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894463" y="3614061"/>
            <a:ext cx="4399535" cy="116556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BC2E8CC-4073-B03D-E06C-95AD96AED231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07F5FC-876A-F468-E5E0-C63102A793AA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FF51128-CB71-AF4E-0555-90F85255DF15}"/>
              </a:ext>
            </a:extLst>
          </p:cNvPr>
          <p:cNvSpPr txBox="1"/>
          <p:nvPr userDrawn="1"/>
        </p:nvSpPr>
        <p:spPr>
          <a:xfrm>
            <a:off x="7982810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137B12-43BF-9E8C-D4BB-40CA769AE423}"/>
              </a:ext>
            </a:extLst>
          </p:cNvPr>
          <p:cNvSpPr txBox="1"/>
          <p:nvPr userDrawn="1"/>
        </p:nvSpPr>
        <p:spPr>
          <a:xfrm>
            <a:off x="654052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05078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 userDrawn="1"/>
        </p:nvSpPr>
        <p:spPr>
          <a:xfrm>
            <a:off x="-1" y="0"/>
            <a:ext cx="9487438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1ED612-7755-BDB6-0158-DB037C5FF1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3" y="-1"/>
            <a:ext cx="12590855" cy="8229601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4E2A8BB-313A-7F7C-EBA3-3C5248E77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52" y="500350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165874E-37DE-E633-CB21-9E9B3CF44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BE6FD3-0E23-8375-4050-29912A3F06A9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9">
            <a:extLst>
              <a:ext uri="{FF2B5EF4-FFF2-40B4-BE49-F238E27FC236}">
                <a16:creationId xmlns:a16="http://schemas.microsoft.com/office/drawing/2014/main" id="{35B04A97-FCD6-50CC-AB58-B97CF65E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3271811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C72D8B3E-E004-AF6D-4C75-D32640D1F0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3" y="322822"/>
            <a:ext cx="1654547" cy="437676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60E86110-134A-0CA7-ED47-7BEF60FF71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7389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2686B64-E0AA-5C66-8624-60C29255741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494588" cy="4114800"/>
          </a:xfrm>
          <a:prstGeom prst="rect">
            <a:avLst/>
          </a:prstGeo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 userDrawn="1"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1ED612-7755-BDB6-0158-DB037C5FF1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3" y="-1"/>
            <a:ext cx="12590855" cy="8229601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4E2A8BB-313A-7F7C-EBA3-3C5248E77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52" y="665901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BE6FD3-0E23-8375-4050-29912A3F06A9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9">
            <a:extLst>
              <a:ext uri="{FF2B5EF4-FFF2-40B4-BE49-F238E27FC236}">
                <a16:creationId xmlns:a16="http://schemas.microsoft.com/office/drawing/2014/main" id="{35B04A97-FCD6-50CC-AB58-B97CF65E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4927323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C72D8B3E-E004-AF6D-4C75-D32640D1F0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3" y="322822"/>
            <a:ext cx="1654547" cy="437676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C48B77-DE6A-E4C4-DAEE-30B8F130C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C5C54B9-BC33-4775-13B7-7CCEC1EFBB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28678" y="29274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© 2024 MEDECISION, INC.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530137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0509014-F702-55A0-5543-BD155D6ACD1A}"/>
              </a:ext>
            </a:extLst>
          </p:cNvPr>
          <p:cNvGrpSpPr/>
          <p:nvPr/>
        </p:nvGrpSpPr>
        <p:grpSpPr>
          <a:xfrm>
            <a:off x="8495500" y="2419719"/>
            <a:ext cx="5465202" cy="4760410"/>
            <a:chOff x="607701" y="3476848"/>
            <a:chExt cx="10976598" cy="254726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F9CE615-BF00-B94F-3F1C-0F5FE0D35ACD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3476848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C4B466F-C398-4662-0A40-BFDCD8262C5C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3901391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4761F54-6C6C-3133-F091-8E335269F84A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4325934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91A0062-C504-F98F-0360-0C50A282DE5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4750477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50EE34D-25A5-0F96-3B9C-42AE8FD2DA4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5175020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81B3934-40D0-0F2A-965C-FE370C8DBE45}"/>
                </a:ext>
              </a:extLst>
            </p:cNvPr>
            <p:cNvCxnSpPr>
              <a:cxnSpLocks/>
            </p:cNvCxnSpPr>
            <p:nvPr/>
          </p:nvCxnSpPr>
          <p:spPr>
            <a:xfrm>
              <a:off x="607701" y="5599564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F6F4437-9138-D836-136D-0291A8A0C2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7701" y="6024108"/>
              <a:ext cx="10976598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itle 9">
            <a:extLst>
              <a:ext uri="{FF2B5EF4-FFF2-40B4-BE49-F238E27FC236}">
                <a16:creationId xmlns:a16="http://schemas.microsoft.com/office/drawing/2014/main" id="{2E35D605-CC3A-26C2-0C2A-C72604A733E6}"/>
              </a:ext>
            </a:extLst>
          </p:cNvPr>
          <p:cNvSpPr txBox="1">
            <a:spLocks/>
          </p:cNvSpPr>
          <p:nvPr userDrawn="1"/>
        </p:nvSpPr>
        <p:spPr>
          <a:xfrm>
            <a:off x="7772280" y="1863128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1" name="Title 9">
            <a:extLst>
              <a:ext uri="{FF2B5EF4-FFF2-40B4-BE49-F238E27FC236}">
                <a16:creationId xmlns:a16="http://schemas.microsoft.com/office/drawing/2014/main" id="{4B2C04BC-286F-3C7F-FDEC-20ACBB0A8C15}"/>
              </a:ext>
            </a:extLst>
          </p:cNvPr>
          <p:cNvSpPr txBox="1">
            <a:spLocks/>
          </p:cNvSpPr>
          <p:nvPr userDrawn="1"/>
        </p:nvSpPr>
        <p:spPr>
          <a:xfrm>
            <a:off x="7772280" y="2667159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14B06336-7327-C964-8D2C-527B45940FBC}"/>
              </a:ext>
            </a:extLst>
          </p:cNvPr>
          <p:cNvSpPr txBox="1">
            <a:spLocks/>
          </p:cNvSpPr>
          <p:nvPr userDrawn="1"/>
        </p:nvSpPr>
        <p:spPr>
          <a:xfrm>
            <a:off x="7772280" y="3449476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itle 9">
            <a:extLst>
              <a:ext uri="{FF2B5EF4-FFF2-40B4-BE49-F238E27FC236}">
                <a16:creationId xmlns:a16="http://schemas.microsoft.com/office/drawing/2014/main" id="{129BDE67-5220-8F67-04CF-2F235A9702C5}"/>
              </a:ext>
            </a:extLst>
          </p:cNvPr>
          <p:cNvSpPr txBox="1">
            <a:spLocks/>
          </p:cNvSpPr>
          <p:nvPr userDrawn="1"/>
        </p:nvSpPr>
        <p:spPr>
          <a:xfrm>
            <a:off x="7772280" y="4242878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24" name="Title 9">
            <a:extLst>
              <a:ext uri="{FF2B5EF4-FFF2-40B4-BE49-F238E27FC236}">
                <a16:creationId xmlns:a16="http://schemas.microsoft.com/office/drawing/2014/main" id="{A53E5A64-B4CF-2AE8-EDEE-53D9921140CF}"/>
              </a:ext>
            </a:extLst>
          </p:cNvPr>
          <p:cNvSpPr txBox="1">
            <a:spLocks/>
          </p:cNvSpPr>
          <p:nvPr userDrawn="1"/>
        </p:nvSpPr>
        <p:spPr>
          <a:xfrm>
            <a:off x="7772280" y="5025392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5" name="Title 9">
            <a:extLst>
              <a:ext uri="{FF2B5EF4-FFF2-40B4-BE49-F238E27FC236}">
                <a16:creationId xmlns:a16="http://schemas.microsoft.com/office/drawing/2014/main" id="{2FCFF54C-69F4-4C1B-0641-81FB892DCB95}"/>
              </a:ext>
            </a:extLst>
          </p:cNvPr>
          <p:cNvSpPr txBox="1">
            <a:spLocks/>
          </p:cNvSpPr>
          <p:nvPr userDrawn="1"/>
        </p:nvSpPr>
        <p:spPr>
          <a:xfrm>
            <a:off x="7772280" y="5822343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26" name="Title 9">
            <a:extLst>
              <a:ext uri="{FF2B5EF4-FFF2-40B4-BE49-F238E27FC236}">
                <a16:creationId xmlns:a16="http://schemas.microsoft.com/office/drawing/2014/main" id="{B188F769-DBB7-AA4C-1F19-796B06D67192}"/>
              </a:ext>
            </a:extLst>
          </p:cNvPr>
          <p:cNvSpPr txBox="1">
            <a:spLocks/>
          </p:cNvSpPr>
          <p:nvPr userDrawn="1"/>
        </p:nvSpPr>
        <p:spPr>
          <a:xfrm>
            <a:off x="7772280" y="6625113"/>
            <a:ext cx="573952" cy="739914"/>
          </a:xfrm>
          <a:prstGeom prst="rect">
            <a:avLst/>
          </a:prstGeom>
        </p:spPr>
        <p:txBody>
          <a:bodyPr anchor="b"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>
                    <a:lumMod val="50000"/>
                  </a:schemeClr>
                </a:solidFill>
                <a:latin typeface="Museo Sans 700" panose="02000000000000000000" pitchFamily="2" charset="77"/>
                <a:ea typeface="+mj-ea"/>
                <a:cs typeface="Arial" panose="020B0604020202020204" pitchFamily="34" charset="0"/>
              </a:defRPr>
            </a:lvl1pPr>
          </a:lstStyle>
          <a:p>
            <a:pPr algn="r"/>
            <a:r>
              <a:rPr lang="en-US" sz="4000">
                <a:solidFill>
                  <a:schemeClr val="bg2"/>
                </a:solidFill>
                <a:latin typeface="Arial" panose="020B0604020202020204" pitchFamily="34" charset="0"/>
              </a:rPr>
              <a:t>7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C2E2455-EAEB-1EA4-BD15-2C41E3556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95500" y="1909130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0E5B660-0CC3-BF26-5916-82E3ADA2C1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95500" y="2702531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A930B824-518E-B601-E5BE-0ED4BF8870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95500" y="3485045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567ADC4-8253-FC75-B797-5AD2458061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95500" y="4289337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FBCB11E1-87EB-B5AA-AE81-604A376C69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95500" y="5070240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699CE10C-6801-26BA-3FE5-7451D1B640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95500" y="5871689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42441104-FC64-EFE0-FBAA-9132FB9865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95500" y="6665091"/>
            <a:ext cx="5465202" cy="510586"/>
          </a:xfrm>
          <a:prstGeom prst="rect">
            <a:avLst/>
          </a:prstGeom>
        </p:spPr>
        <p:txBody>
          <a:bodyPr bIns="72000" anchor="b"/>
          <a:lstStyle>
            <a:lvl1pPr marL="0" indent="0">
              <a:buNone/>
              <a:defRPr sz="1400" b="0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190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1367">
          <p15:clr>
            <a:srgbClr val="FBAE40"/>
          </p15:clr>
        </p15:guide>
        <p15:guide id="3" orient="horz" pos="105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947025" y="2079486"/>
            <a:ext cx="6013450" cy="5275402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5513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76947D55-0EAE-DEF6-30FD-A190B1CFBC9F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7946798" y="2079627"/>
            <a:ext cx="6024790" cy="52752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12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1437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9601" y="3258528"/>
            <a:ext cx="3941446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52881" y="2822703"/>
            <a:ext cx="3426199" cy="246168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8E13D35-49BE-0F9A-E988-B1509449EEDC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C301B60-D07C-9E18-48E2-BAD4E8FB8826}"/>
              </a:ext>
            </a:extLst>
          </p:cNvPr>
          <p:cNvSpPr txBox="1"/>
          <p:nvPr userDrawn="1"/>
        </p:nvSpPr>
        <p:spPr>
          <a:xfrm>
            <a:off x="7982809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36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7A4E31-5F1F-1542-8A4A-FB3D5626A50D}"/>
              </a:ext>
            </a:extLst>
          </p:cNvPr>
          <p:cNvSpPr txBox="1"/>
          <p:nvPr userDrawn="1"/>
        </p:nvSpPr>
        <p:spPr>
          <a:xfrm>
            <a:off x="654051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36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5D1788-7E0A-38F4-3FDB-FDF81C6F59BA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3007EC1-B5DE-B642-B0A5-67C456CF28A5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16306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able Placeholder 6">
            <a:extLst>
              <a:ext uri="{FF2B5EF4-FFF2-40B4-BE49-F238E27FC236}">
                <a16:creationId xmlns:a16="http://schemas.microsoft.com/office/drawing/2014/main" id="{C5C37120-1629-7434-5296-100D28361439}"/>
              </a:ext>
            </a:extLst>
          </p:cNvPr>
          <p:cNvSpPr>
            <a:spLocks noGrp="1"/>
          </p:cNvSpPr>
          <p:nvPr>
            <p:ph type="tbl" sz="quarter" idx="24"/>
          </p:nvPr>
        </p:nvSpPr>
        <p:spPr>
          <a:xfrm>
            <a:off x="7935913" y="2079487"/>
            <a:ext cx="6024562" cy="52754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843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2079489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9" y="3704230"/>
            <a:ext cx="6481763" cy="36506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9861" y="134898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789862" y="1858677"/>
            <a:ext cx="6181726" cy="2256126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4345465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4855158"/>
            <a:ext cx="6181726" cy="248678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0545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-2381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2973725"/>
            <a:ext cx="6481763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1348983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483428"/>
            <a:ext cx="6492876" cy="127764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9861" y="134898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5361763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4" y="5970294"/>
            <a:ext cx="2942305" cy="1384594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FD6E937-4DCD-1638-3553-74F7FD7BC5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54051" y="5577515"/>
            <a:ext cx="6481763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C0EA3B8-BF3B-5B88-5AD0-C8BEADC0E8E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937" y="6087220"/>
            <a:ext cx="6492876" cy="127764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4AAFA22-15CC-3A99-E41A-44E24C05E17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018400" y="5970294"/>
            <a:ext cx="2942305" cy="1384594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B25EE8C-1276-DF31-C1E0-19AFFC37982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789864" y="1957513"/>
            <a:ext cx="2942305" cy="311882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41C3A3B7-3A69-579C-A396-6FF71E1F61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018400" y="1957513"/>
            <a:ext cx="2942305" cy="311882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789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1335122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6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31"/>
            <a:ext cx="6181726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9386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1335122"/>
            <a:ext cx="13306652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6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31"/>
            <a:ext cx="6181726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257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0" y="0"/>
            <a:ext cx="7315200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5CC48F4-1382-A431-B6A5-128C98B360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4614" t="32918" r="25019" b="32918"/>
          <a:stretch/>
        </p:blipFill>
        <p:spPr>
          <a:xfrm>
            <a:off x="0" y="-1"/>
            <a:ext cx="7315200" cy="8229601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6474839-4B2F-327B-65C2-EDC70226ED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4050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1" y="3530530"/>
            <a:ext cx="6181726" cy="382435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EDDA736-F0E3-53A9-8180-A216F95792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9861" y="2991961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0215A28-C835-ABB8-1C93-6FC2C901BD0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2" y="3530531"/>
            <a:ext cx="6181726" cy="382435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1335122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F2AE71EE-DE37-25FC-7367-FD8DB06933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3" y="322822"/>
            <a:ext cx="1654547" cy="43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536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3704232"/>
            <a:ext cx="14630401" cy="4525368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1F48185-4A90-1F41-9965-C14A4B5DE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043" t="34883" r="-7164" b="37398"/>
          <a:stretch/>
        </p:blipFill>
        <p:spPr>
          <a:xfrm>
            <a:off x="3" y="3704232"/>
            <a:ext cx="12590855" cy="4525368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0" y="4597337"/>
            <a:ext cx="6181726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2079489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4015087-DD4C-4BEB-C938-55F4481B8D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1" y="4597337"/>
            <a:ext cx="6181726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4228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mparison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84804069-F00A-0CD2-0B53-34EA7329E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769" t="24444" b="47783"/>
          <a:stretch/>
        </p:blipFill>
        <p:spPr>
          <a:xfrm>
            <a:off x="-1" y="-1"/>
            <a:ext cx="8341591" cy="33463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3346322"/>
            <a:ext cx="14630401" cy="4883279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0" y="4597337"/>
            <a:ext cx="6181726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2079489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4015087-DD4C-4BEB-C938-55F4481B8D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1" y="4597340"/>
            <a:ext cx="6181726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88D0D6C-8324-3C50-5D98-EDDFCA9AD77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89861" y="6224288"/>
            <a:ext cx="6181726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736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mparison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84804069-F00A-0CD2-0B53-34EA7329E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769" t="24444" b="41767"/>
          <a:stretch/>
        </p:blipFill>
        <p:spPr>
          <a:xfrm>
            <a:off x="-1" y="1656831"/>
            <a:ext cx="8341591" cy="407110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5472051"/>
            <a:ext cx="14630401" cy="275755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0" y="4597337"/>
            <a:ext cx="6181726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2079489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4015087-DD4C-4BEB-C938-55F4481B8D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1" y="4597340"/>
            <a:ext cx="6181726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88D0D6C-8324-3C50-5D98-EDDFCA9AD77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89861" y="6224288"/>
            <a:ext cx="6181726" cy="113060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8856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mparison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4746176"/>
            <a:ext cx="14630401" cy="3483426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7145" y="5421088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1406138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FCA953-571E-B7D5-ACEC-5E462272BF1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078845" y="5421088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9CF1158-A461-089C-58B6-4965E048C92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50545" y="5421088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EE4821D-5F4A-9F5D-A3F9-818DD12FA00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22245" y="5421088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80F95A5-58F3-0627-AC8B-11C804EF367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593945" y="5421088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AF30503-40E4-1CC8-935D-8FD9179490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1765645" y="5421088"/>
            <a:ext cx="1942192" cy="193380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1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05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BB770F8-146D-0C18-5703-B0A5EC2FD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07145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AAC1F5D-6D5F-E6F2-3B8D-0C4675B9CF3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083381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8BFA5280-2B70-F987-95D7-009D4551D8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257803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107B6A0-1E6E-EE7D-52B3-477534D4409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422245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3BB75DD2-9B14-0D29-EAD8-9740DE089085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93945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1A39C4F7-8756-9189-ECB3-A4EAA943EA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1765645" y="4996859"/>
            <a:ext cx="1942192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1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5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501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95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go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DFD1F7C-BE7A-7EB4-5C79-6F119B3F2427}"/>
              </a:ext>
            </a:extLst>
          </p:cNvPr>
          <p:cNvSpPr/>
          <p:nvPr userDrawn="1"/>
        </p:nvSpPr>
        <p:spPr>
          <a:xfrm>
            <a:off x="-4763" y="1"/>
            <a:ext cx="8503303" cy="8229601"/>
          </a:xfrm>
          <a:prstGeom prst="rect">
            <a:avLst/>
          </a:prstGeom>
          <a:solidFill>
            <a:srgbClr val="444FA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7" name="Picture 16" descr="A blue and black circle&#10;&#10;Description automatically generated">
            <a:extLst>
              <a:ext uri="{FF2B5EF4-FFF2-40B4-BE49-F238E27FC236}">
                <a16:creationId xmlns:a16="http://schemas.microsoft.com/office/drawing/2014/main" id="{F6DE1EE3-69D8-A401-8674-8DEB0D120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1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878111"/>
            <a:ext cx="7937648" cy="73514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8023" y="3197205"/>
            <a:ext cx="6077177" cy="1999271"/>
          </a:xfrm>
          <a:prstGeom prst="rect">
            <a:avLst/>
          </a:prstGeom>
        </p:spPr>
        <p:txBody>
          <a:bodyPr/>
          <a:lstStyle>
            <a:lvl1pPr>
              <a:defRPr sz="72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24256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4" name="Google Shape;101;p16">
            <a:extLst>
              <a:ext uri="{FF2B5EF4-FFF2-40B4-BE49-F238E27FC236}">
                <a16:creationId xmlns:a16="http://schemas.microsoft.com/office/drawing/2014/main" id="{9877002A-4F3A-E7A7-7265-49E111B971E9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 t="36781" b="36726"/>
          <a:stretch/>
        </p:blipFill>
        <p:spPr>
          <a:xfrm>
            <a:off x="10098916" y="3614060"/>
            <a:ext cx="4399535" cy="116556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07F5FC-876A-F468-E5E0-C63102A793AA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3137B12-43BF-9E8C-D4BB-40CA769AE423}"/>
              </a:ext>
            </a:extLst>
          </p:cNvPr>
          <p:cNvSpPr txBox="1"/>
          <p:nvPr userDrawn="1"/>
        </p:nvSpPr>
        <p:spPr>
          <a:xfrm>
            <a:off x="654051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36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8DD1F60-969C-0E61-D808-09249059C93B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ED66D1-70D9-003D-05DC-C37386E0736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A2A916C-AD80-DA45-A81D-2586CB99E5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2868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0"/>
            <a:ext cx="14630401" cy="41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2079489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A54B756-9183-3E11-CB28-0067F4E6C8AF}"/>
              </a:ext>
            </a:extLst>
          </p:cNvPr>
          <p:cNvCxnSpPr>
            <a:cxnSpLocks/>
          </p:cNvCxnSpPr>
          <p:nvPr userDrawn="1"/>
        </p:nvCxnSpPr>
        <p:spPr>
          <a:xfrm>
            <a:off x="654050" y="4114800"/>
            <a:ext cx="13317538" cy="0"/>
          </a:xfrm>
          <a:prstGeom prst="line">
            <a:avLst/>
          </a:prstGeom>
          <a:ln w="31750" cap="sq">
            <a:solidFill>
              <a:schemeClr val="bg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0ACC6DE4-1455-080B-D73B-55797DDD800F}"/>
              </a:ext>
            </a:extLst>
          </p:cNvPr>
          <p:cNvSpPr/>
          <p:nvPr userDrawn="1"/>
        </p:nvSpPr>
        <p:spPr>
          <a:xfrm>
            <a:off x="526811" y="3987562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1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CA671DEF-2F90-D579-B059-EF688EAD1672}"/>
              </a:ext>
            </a:extLst>
          </p:cNvPr>
          <p:cNvSpPr/>
          <p:nvPr userDrawn="1"/>
        </p:nvSpPr>
        <p:spPr>
          <a:xfrm>
            <a:off x="2759038" y="3987562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2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1C65D65-0B85-9F75-4461-B870D52CBF2A}"/>
              </a:ext>
            </a:extLst>
          </p:cNvPr>
          <p:cNvSpPr/>
          <p:nvPr userDrawn="1"/>
        </p:nvSpPr>
        <p:spPr>
          <a:xfrm>
            <a:off x="4991261" y="3987562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E874A254-DB98-7647-1A30-471F328492B0}"/>
              </a:ext>
            </a:extLst>
          </p:cNvPr>
          <p:cNvSpPr/>
          <p:nvPr userDrawn="1"/>
        </p:nvSpPr>
        <p:spPr>
          <a:xfrm>
            <a:off x="7223488" y="3987562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4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D9F68A79-2A33-1D55-F2E4-C1C6DA2F01FB}"/>
              </a:ext>
            </a:extLst>
          </p:cNvPr>
          <p:cNvSpPr/>
          <p:nvPr userDrawn="1"/>
        </p:nvSpPr>
        <p:spPr>
          <a:xfrm>
            <a:off x="9455711" y="3987562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5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196A40C2-3679-6996-E403-76919CA0EB21}"/>
              </a:ext>
            </a:extLst>
          </p:cNvPr>
          <p:cNvSpPr/>
          <p:nvPr userDrawn="1"/>
        </p:nvSpPr>
        <p:spPr>
          <a:xfrm>
            <a:off x="11687937" y="3987562"/>
            <a:ext cx="254478" cy="254478"/>
          </a:xfrm>
          <a:prstGeom prst="ellipse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6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97EB1A0-13ED-A58D-7A26-E7587BE64A32}"/>
              </a:ext>
            </a:extLst>
          </p:cNvPr>
          <p:cNvCxnSpPr>
            <a:cxnSpLocks/>
            <a:stCxn id="56" idx="4"/>
          </p:cNvCxnSpPr>
          <p:nvPr userDrawn="1"/>
        </p:nvCxnSpPr>
        <p:spPr>
          <a:xfrm>
            <a:off x="654050" y="4242040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939C886-CA26-1E2C-7187-5E1A17D30BB0}"/>
              </a:ext>
            </a:extLst>
          </p:cNvPr>
          <p:cNvCxnSpPr>
            <a:cxnSpLocks/>
            <a:stCxn id="59" idx="4"/>
          </p:cNvCxnSpPr>
          <p:nvPr userDrawn="1"/>
        </p:nvCxnSpPr>
        <p:spPr>
          <a:xfrm flipH="1">
            <a:off x="2880754" y="4242040"/>
            <a:ext cx="5524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C520669-3D54-B327-D18D-5529A572B3D3}"/>
              </a:ext>
            </a:extLst>
          </p:cNvPr>
          <p:cNvCxnSpPr>
            <a:cxnSpLocks/>
            <a:stCxn id="62" idx="4"/>
          </p:cNvCxnSpPr>
          <p:nvPr userDrawn="1"/>
        </p:nvCxnSpPr>
        <p:spPr>
          <a:xfrm>
            <a:off x="5118502" y="4242040"/>
            <a:ext cx="5524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71662CE-E47D-DD87-FEB6-6F96AD81D8C5}"/>
              </a:ext>
            </a:extLst>
          </p:cNvPr>
          <p:cNvCxnSpPr>
            <a:cxnSpLocks/>
            <a:stCxn id="65" idx="4"/>
          </p:cNvCxnSpPr>
          <p:nvPr userDrawn="1"/>
        </p:nvCxnSpPr>
        <p:spPr>
          <a:xfrm flipH="1">
            <a:off x="7350727" y="4242040"/>
            <a:ext cx="1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939F164-502F-C17C-26D3-6FBFC1E12E67}"/>
              </a:ext>
            </a:extLst>
          </p:cNvPr>
          <p:cNvCxnSpPr>
            <a:cxnSpLocks/>
            <a:stCxn id="68" idx="4"/>
          </p:cNvCxnSpPr>
          <p:nvPr userDrawn="1"/>
        </p:nvCxnSpPr>
        <p:spPr>
          <a:xfrm>
            <a:off x="9582950" y="4242040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57A2F21E-38E4-49E1-B7F9-5C8BD9CA5CBB}"/>
              </a:ext>
            </a:extLst>
          </p:cNvPr>
          <p:cNvCxnSpPr>
            <a:cxnSpLocks/>
            <a:stCxn id="71" idx="4"/>
          </p:cNvCxnSpPr>
          <p:nvPr userDrawn="1"/>
        </p:nvCxnSpPr>
        <p:spPr>
          <a:xfrm>
            <a:off x="11815174" y="4242040"/>
            <a:ext cx="0" cy="593730"/>
          </a:xfrm>
          <a:prstGeom prst="line">
            <a:avLst/>
          </a:prstGeom>
          <a:ln w="15875" cap="sq">
            <a:solidFill>
              <a:schemeClr val="bg2"/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8011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0"/>
            <a:ext cx="14630401" cy="41148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2079489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A54B756-9183-3E11-CB28-0067F4E6C8AF}"/>
              </a:ext>
            </a:extLst>
          </p:cNvPr>
          <p:cNvCxnSpPr>
            <a:cxnSpLocks/>
          </p:cNvCxnSpPr>
          <p:nvPr userDrawn="1"/>
        </p:nvCxnSpPr>
        <p:spPr>
          <a:xfrm>
            <a:off x="654050" y="4114800"/>
            <a:ext cx="13317538" cy="0"/>
          </a:xfrm>
          <a:prstGeom prst="line">
            <a:avLst/>
          </a:prstGeom>
          <a:ln w="31750" cap="sq">
            <a:solidFill>
              <a:schemeClr val="bg2"/>
            </a:solidFill>
            <a:prstDash val="solid"/>
            <a:headEnd type="oval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5324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13317538" cy="73548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218659"/>
            <a:ext cx="13317538" cy="413623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1426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DF141B-D8A3-C3BD-2989-8AE5B31E6A21}"/>
              </a:ext>
            </a:extLst>
          </p:cNvPr>
          <p:cNvSpPr/>
          <p:nvPr userDrawn="1"/>
        </p:nvSpPr>
        <p:spPr>
          <a:xfrm flipV="1">
            <a:off x="0" y="0"/>
            <a:ext cx="14630400" cy="482046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13317538" cy="73548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218659"/>
            <a:ext cx="13317538" cy="413623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8980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62217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1406137"/>
            <a:ext cx="8979808" cy="953342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BB770F8-146D-0C18-5703-B0A5EC2FD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2217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Block Arc 1">
            <a:extLst>
              <a:ext uri="{FF2B5EF4-FFF2-40B4-BE49-F238E27FC236}">
                <a16:creationId xmlns:a16="http://schemas.microsoft.com/office/drawing/2014/main" id="{E792BF59-14B1-484D-D23E-AAAF55BB2557}"/>
              </a:ext>
            </a:extLst>
          </p:cNvPr>
          <p:cNvSpPr/>
          <p:nvPr userDrawn="1"/>
        </p:nvSpPr>
        <p:spPr>
          <a:xfrm>
            <a:off x="66221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Block Arc 2">
            <a:extLst>
              <a:ext uri="{FF2B5EF4-FFF2-40B4-BE49-F238E27FC236}">
                <a16:creationId xmlns:a16="http://schemas.microsoft.com/office/drawing/2014/main" id="{C83F0C49-2E7F-8399-3F49-AFD9AFB51DF1}"/>
              </a:ext>
            </a:extLst>
          </p:cNvPr>
          <p:cNvSpPr/>
          <p:nvPr userDrawn="1"/>
        </p:nvSpPr>
        <p:spPr>
          <a:xfrm>
            <a:off x="2119673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DD901083-529F-EECC-83E0-A1C296B7EFBC}"/>
              </a:ext>
            </a:extLst>
          </p:cNvPr>
          <p:cNvSpPr/>
          <p:nvPr userDrawn="1"/>
        </p:nvSpPr>
        <p:spPr>
          <a:xfrm>
            <a:off x="3577132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Block Arc 13">
            <a:extLst>
              <a:ext uri="{FF2B5EF4-FFF2-40B4-BE49-F238E27FC236}">
                <a16:creationId xmlns:a16="http://schemas.microsoft.com/office/drawing/2014/main" id="{B64244F8-43A2-76EB-285B-1957A0389376}"/>
              </a:ext>
            </a:extLst>
          </p:cNvPr>
          <p:cNvSpPr/>
          <p:nvPr userDrawn="1"/>
        </p:nvSpPr>
        <p:spPr>
          <a:xfrm>
            <a:off x="502626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Block Arc 16">
            <a:extLst>
              <a:ext uri="{FF2B5EF4-FFF2-40B4-BE49-F238E27FC236}">
                <a16:creationId xmlns:a16="http://schemas.microsoft.com/office/drawing/2014/main" id="{2C1ECC12-D4C2-94B6-4138-FE1F45AB1A38}"/>
              </a:ext>
            </a:extLst>
          </p:cNvPr>
          <p:cNvSpPr/>
          <p:nvPr userDrawn="1"/>
        </p:nvSpPr>
        <p:spPr>
          <a:xfrm>
            <a:off x="6483722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:a16="http://schemas.microsoft.com/office/drawing/2014/main" id="{7730BD48-05AE-FC26-A7DD-4D9098F99CC9}"/>
              </a:ext>
            </a:extLst>
          </p:cNvPr>
          <p:cNvSpPr/>
          <p:nvPr userDrawn="1"/>
        </p:nvSpPr>
        <p:spPr>
          <a:xfrm>
            <a:off x="7941181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0" name="Block Arc 19">
            <a:extLst>
              <a:ext uri="{FF2B5EF4-FFF2-40B4-BE49-F238E27FC236}">
                <a16:creationId xmlns:a16="http://schemas.microsoft.com/office/drawing/2014/main" id="{CE356852-A97F-2238-595D-6E4DF9600424}"/>
              </a:ext>
            </a:extLst>
          </p:cNvPr>
          <p:cNvSpPr/>
          <p:nvPr userDrawn="1"/>
        </p:nvSpPr>
        <p:spPr>
          <a:xfrm>
            <a:off x="9398640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Block Arc 20">
            <a:extLst>
              <a:ext uri="{FF2B5EF4-FFF2-40B4-BE49-F238E27FC236}">
                <a16:creationId xmlns:a16="http://schemas.microsoft.com/office/drawing/2014/main" id="{2926C4F9-297F-D20E-DD9A-E07517314604}"/>
              </a:ext>
            </a:extLst>
          </p:cNvPr>
          <p:cNvSpPr/>
          <p:nvPr userDrawn="1"/>
        </p:nvSpPr>
        <p:spPr>
          <a:xfrm>
            <a:off x="10856098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Block Arc 25">
            <a:extLst>
              <a:ext uri="{FF2B5EF4-FFF2-40B4-BE49-F238E27FC236}">
                <a16:creationId xmlns:a16="http://schemas.microsoft.com/office/drawing/2014/main" id="{64E0FCD9-B4FE-F1CD-B3A8-63FAD62B7BD3}"/>
              </a:ext>
            </a:extLst>
          </p:cNvPr>
          <p:cNvSpPr/>
          <p:nvPr userDrawn="1"/>
        </p:nvSpPr>
        <p:spPr>
          <a:xfrm>
            <a:off x="12330034" y="3772434"/>
            <a:ext cx="1630668" cy="1630668"/>
          </a:xfrm>
          <a:prstGeom prst="blockArc">
            <a:avLst>
              <a:gd name="adj1" fmla="val 21542276"/>
              <a:gd name="adj2" fmla="val 21537146"/>
              <a:gd name="adj3" fmla="val 10951"/>
            </a:avLst>
          </a:prstGeom>
          <a:solidFill>
            <a:schemeClr val="bg1">
              <a:lumMod val="95000"/>
            </a:schemeClr>
          </a:solidFill>
          <a:ln w="187325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9C84E24-9AB8-9866-F6EC-14EFDCAA76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292885" y="262778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6D9CBE-24A7-15DD-190C-49FBBB613C5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292885" y="220355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8BAF851-D0E2-45EC-CD7E-3CDAFEFB783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02534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EDC6C58-FFA7-B881-95E2-25ABF227207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02534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F15C8AB7-85DC-B97C-0766-E27489D906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33202" y="262778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81A63413-062B-F36C-19C2-557E3240413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33202" y="220355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94945E23-06E1-AACC-770D-123724B3826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492693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DC309C6-527F-2C81-142D-18C4C5F87E3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492693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01B5CB51-C3DB-1923-2CA7-3F77E5627EF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123361" y="262778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10288D6F-F2B5-3F9D-CD9B-D1990406B71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23361" y="220355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D37D360-46F2-FF35-EC21-A45D5A004D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424043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6E433D96-6482-AE9E-26FA-1E225676CB9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424043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59B0D1DA-0EED-A57C-749B-0575A556919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054711" y="262778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ECF57A6-AB74-2003-30FA-A67FE64B8ED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054711" y="220355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4A6A2CEE-AE65-55EA-8DF1-5CB865943C6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2330037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429EA313-FD08-371D-00CD-DEF8809B71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2330037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2248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95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mparis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62217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1406137"/>
            <a:ext cx="8979808" cy="953342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BB770F8-146D-0C18-5703-B0A5EC2FD4C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62217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9C84E24-9AB8-9866-F6EC-14EFDCAA76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292885" y="262778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6D9CBE-24A7-15DD-190C-49FBBB613C5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292885" y="220355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8BAF851-D0E2-45EC-CD7E-3CDAFEFB783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602534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EDC6C58-FFA7-B881-95E2-25ABF227207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02534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F15C8AB7-85DC-B97C-0766-E27489D906A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233202" y="262778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81A63413-062B-F36C-19C2-557E3240413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33202" y="220355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94945E23-06E1-AACC-770D-123724B3826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492693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DC309C6-527F-2C81-142D-18C4C5F87E3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492693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01B5CB51-C3DB-1923-2CA7-3F77E5627EF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123361" y="262778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10288D6F-F2B5-3F9D-CD9B-D1990406B71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23361" y="220355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D37D360-46F2-FF35-EC21-A45D5A004D1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424043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6E433D96-6482-AE9E-26FA-1E225676CB9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424043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59B0D1DA-0EED-A57C-749B-0575A556919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1054711" y="262778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ECF57A6-AB74-2003-30FA-A67FE64B8ED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054711" y="220355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4A6A2CEE-AE65-55EA-8DF1-5CB865943C6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2330037" y="6061736"/>
            <a:ext cx="1457459" cy="883129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9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429EA313-FD08-371D-00CD-DEF8809B71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2330037" y="5637508"/>
            <a:ext cx="1457459" cy="42422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sz="1000">
                <a:solidFill>
                  <a:schemeClr val="bg2"/>
                </a:solidFill>
                <a:latin typeface="+mj-lt"/>
              </a:defRPr>
            </a:lvl1pPr>
            <a:lvl2pPr marL="457164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2pPr>
            <a:lvl3pPr marL="914328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3pPr>
            <a:lvl4pPr marL="219438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4pPr>
            <a:lvl5pPr marL="2925845" indent="0">
              <a:buClr>
                <a:schemeClr val="bg2"/>
              </a:buClr>
              <a:buFont typeface="Arial" panose="020B0604020202020204" pitchFamily="34" charset="0"/>
              <a:buNone/>
              <a:defRPr sz="100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714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  <p15:guide id="2" orient="horz" pos="95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8A1EE0B-3CAB-A487-2399-0CF792DCCBE5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2807" y="4630257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4988" t="36166" b="22343"/>
          <a:stretch/>
        </p:blipFill>
        <p:spPr>
          <a:xfrm>
            <a:off x="2" y="0"/>
            <a:ext cx="11730584" cy="7486483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53374" y="1631918"/>
            <a:ext cx="3092888" cy="2222201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2807" y="5355497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2194BD-6A0C-FCC3-E5FF-33B8BFF22404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A2F9120-4EF5-53C5-0A3C-BCA4D61A1365}"/>
              </a:ext>
            </a:extLst>
          </p:cNvPr>
          <p:cNvSpPr txBox="1"/>
          <p:nvPr userDrawn="1"/>
        </p:nvSpPr>
        <p:spPr>
          <a:xfrm>
            <a:off x="7982810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81E246-BB91-FF3C-F1B5-443DAD88639E}"/>
              </a:ext>
            </a:extLst>
          </p:cNvPr>
          <p:cNvSpPr txBox="1"/>
          <p:nvPr userDrawn="1"/>
        </p:nvSpPr>
        <p:spPr>
          <a:xfrm>
            <a:off x="654052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C73759B-753D-1AC6-6E1D-4B4B344866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2807" y="595266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1BFACB9-FE01-386B-D4E9-F1496615E7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2807" y="651192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3DFCA23-E3DC-F8D0-6E3D-71C15CE02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2810" y="2617016"/>
            <a:ext cx="5226457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223696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BE2AB25-73A3-624F-7217-20CF9F91EAA3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0794" t="32329" r="-3624" b="32329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4590" y="1913758"/>
            <a:ext cx="5226457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91075B0-C2CF-5963-7689-8AA764CC46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65797" y="2822704"/>
            <a:ext cx="3426199" cy="2461681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8E13D35-49BE-0F9A-E988-B1509449EEDC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C301B60-D07C-9E18-48E2-BAD4E8FB8826}"/>
              </a:ext>
            </a:extLst>
          </p:cNvPr>
          <p:cNvSpPr txBox="1"/>
          <p:nvPr userDrawn="1"/>
        </p:nvSpPr>
        <p:spPr>
          <a:xfrm>
            <a:off x="7982810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7A4E31-5F1F-1542-8A4A-FB3D5626A50D}"/>
              </a:ext>
            </a:extLst>
          </p:cNvPr>
          <p:cNvSpPr txBox="1"/>
          <p:nvPr userDrawn="1"/>
        </p:nvSpPr>
        <p:spPr>
          <a:xfrm>
            <a:off x="654052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1A65A20E-5CD8-9F1E-9312-274AD2DD5F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4588" y="401193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EE02745-723E-452A-7BD9-3A0A47644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4588" y="4737177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3E050E7-D376-7CB7-7B6F-6567B7B383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4588" y="5334347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41BA115-7378-3D1B-ACF1-D9C34C7ADC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94588" y="5893607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503765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ndigo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BC2E8CC-4073-B03D-E06C-95AD96AED231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2869" t="32329" r="23419" b="32329"/>
          <a:stretch/>
        </p:blipFill>
        <p:spPr>
          <a:xfrm>
            <a:off x="0" y="-1"/>
            <a:ext cx="7850038" cy="8229601"/>
          </a:xfrm>
          <a:prstGeom prst="rect">
            <a:avLst/>
          </a:prstGeom>
        </p:spPr>
      </p:pic>
      <p:pic>
        <p:nvPicPr>
          <p:cNvPr id="4" name="Google Shape;101;p16">
            <a:extLst>
              <a:ext uri="{FF2B5EF4-FFF2-40B4-BE49-F238E27FC236}">
                <a16:creationId xmlns:a16="http://schemas.microsoft.com/office/drawing/2014/main" id="{9877002A-4F3A-E7A7-7265-49E111B971E9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 t="36781" b="36726"/>
          <a:stretch/>
        </p:blipFill>
        <p:spPr>
          <a:xfrm>
            <a:off x="654052" y="3614061"/>
            <a:ext cx="4399535" cy="116556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A07F5FC-876A-F468-E5E0-C63102A793AA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FF51128-CB71-AF4E-0555-90F85255DF15}"/>
              </a:ext>
            </a:extLst>
          </p:cNvPr>
          <p:cNvSpPr txBox="1"/>
          <p:nvPr userDrawn="1"/>
        </p:nvSpPr>
        <p:spPr>
          <a:xfrm>
            <a:off x="7982810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137B12-43BF-9E8C-D4BB-40CA769AE423}"/>
              </a:ext>
            </a:extLst>
          </p:cNvPr>
          <p:cNvSpPr txBox="1"/>
          <p:nvPr userDrawn="1"/>
        </p:nvSpPr>
        <p:spPr>
          <a:xfrm>
            <a:off x="654052" y="7655900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192"/>
            <a:r>
              <a:rPr lang="en-US" sz="1080" b="0" kern="100" spc="12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3C440A6-0999-717A-0221-50EF957A2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4590" y="1913758"/>
            <a:ext cx="5226457" cy="1846871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2D9C1F3-A149-019C-AD68-6CAAF54CB6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4588" y="401193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8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E0E6ABE-26A6-5B22-DE4B-91BF7AF9D4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94588" y="4737177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38E78C2-9C87-7CB2-BCAD-E97DAD95EC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94588" y="5334347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6E391D7-2DFC-CAFB-E678-F676360A17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94588" y="5893607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340832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0E9415-25D4-1A1F-8B11-0D49FDEF3929}"/>
              </a:ext>
            </a:extLst>
          </p:cNvPr>
          <p:cNvSpPr/>
          <p:nvPr userDrawn="1"/>
        </p:nvSpPr>
        <p:spPr>
          <a:xfrm>
            <a:off x="-1" y="3483430"/>
            <a:ext cx="14630401" cy="474617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1F48185-4A90-1F41-9965-C14A4B5DE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0043" t="37398" r="-7164" b="37398"/>
          <a:stretch/>
        </p:blipFill>
        <p:spPr>
          <a:xfrm>
            <a:off x="33252" y="3538353"/>
            <a:ext cx="14303854" cy="467462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AB653A-A0C9-3624-3BE1-75FFAAC176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4050" y="4597337"/>
            <a:ext cx="6181726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FE4556-8D61-1369-218A-B3103AC3D5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5" name="Picture 13">
            <a:extLst>
              <a:ext uri="{FF2B5EF4-FFF2-40B4-BE49-F238E27FC236}">
                <a16:creationId xmlns:a16="http://schemas.microsoft.com/office/drawing/2014/main" id="{EA76EF5E-9743-F39B-E3E1-727CB701F4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6" name="Title 9">
            <a:extLst>
              <a:ext uri="{FF2B5EF4-FFF2-40B4-BE49-F238E27FC236}">
                <a16:creationId xmlns:a16="http://schemas.microsoft.com/office/drawing/2014/main" id="{80B2904F-5677-D4FE-FF84-3BAC9728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2079489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4015087-DD4C-4BEB-C938-55F4481B8D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9861" y="4597337"/>
            <a:ext cx="6181726" cy="275755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2330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ndigo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781" t="35478" r="11588" b="35478"/>
          <a:stretch/>
        </p:blipFill>
        <p:spPr>
          <a:xfrm>
            <a:off x="-1" y="-1"/>
            <a:ext cx="14630401" cy="82296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049" y="3325274"/>
            <a:ext cx="6105979" cy="191372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1BB3536-B125-5971-5695-2B15824DC225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F9A903A-25AE-81EC-3F0D-85BDE8710ACE}"/>
              </a:ext>
            </a:extLst>
          </p:cNvPr>
          <p:cNvSpPr txBox="1"/>
          <p:nvPr userDrawn="1"/>
        </p:nvSpPr>
        <p:spPr>
          <a:xfrm>
            <a:off x="7982809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097236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ECISION.COM</a:t>
            </a:r>
            <a:endParaRPr lang="en-BR" sz="960" b="0" kern="100" spc="120" dirty="0">
              <a:solidFill>
                <a:prstClr val="whit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034928-B662-9F21-560E-D1F1E737044B}"/>
              </a:ext>
            </a:extLst>
          </p:cNvPr>
          <p:cNvSpPr txBox="1"/>
          <p:nvPr userDrawn="1"/>
        </p:nvSpPr>
        <p:spPr>
          <a:xfrm>
            <a:off x="654051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36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97A4ACC-C267-50F6-B760-542EF08E38DA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2C302C6-491C-4652-EFC0-B157AAE5CFE0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658095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78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a. 1-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77388" y="2137144"/>
            <a:ext cx="13290550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>
                <a:latin typeface="+mn-lt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2000">
                <a:latin typeface="+mn-lt"/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000"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C2AAB3E-7A16-234B-8430-A824CC934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0550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en-US"/>
              <a:t>One Line Headline: 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A2437AF-845E-4AC2-9321-5800213F6A9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50" cy="37714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head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FB5066B-4A9E-4EDE-A834-2680A0ED92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5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+mn-lt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/>
              <a:t>© 2023 Medecision, Inc. Proprietary and Confidential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80304DB-F374-4D43-8C6C-520D96CBF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1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3">
            <a:extLst>
              <a:ext uri="{FF2B5EF4-FFF2-40B4-BE49-F238E27FC236}">
                <a16:creationId xmlns:a16="http://schemas.microsoft.com/office/drawing/2014/main" id="{3266A7BF-F4E4-9847-AA95-212C4690B0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40076" y="7547479"/>
            <a:ext cx="150097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797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079486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6852738-1190-4ACB-F5ED-1CCBA440742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049" y="4114800"/>
            <a:ext cx="6193063" cy="3240088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3777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0BB200-798E-0EC7-E2DF-7A167187563A}"/>
              </a:ext>
            </a:extLst>
          </p:cNvPr>
          <p:cNvSpPr/>
          <p:nvPr userDrawn="1"/>
        </p:nvSpPr>
        <p:spPr>
          <a:xfrm>
            <a:off x="0" y="0"/>
            <a:ext cx="4492488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2" y="1335122"/>
            <a:ext cx="6481763" cy="1403941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F2AE71EE-DE37-25FC-7367-FD8DB0693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3" y="322822"/>
            <a:ext cx="1654547" cy="437676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923DB61-3194-E269-BAC3-50C7C95C5541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004263E-B111-25AD-C5B9-AAFBAD5594E9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7945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6843BCE-C1E5-455E-E8D4-4B9AA727DD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2" y="1348983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3464B91-1FBE-47E5-4280-6817C0041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© 2024 MEDECISION, INC. PROPRIETARY AND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A58377C-7CDA-F02D-2BF5-40EF67108876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3">
            <a:extLst>
              <a:ext uri="{FF2B5EF4-FFF2-40B4-BE49-F238E27FC236}">
                <a16:creationId xmlns:a16="http://schemas.microsoft.com/office/drawing/2014/main" id="{97BC7B94-8DD3-DDBF-C82D-94C652CF6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54052" y="352099"/>
            <a:ext cx="1437016" cy="379127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5128CC4-42B2-E4A4-7320-6186B20927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2079487"/>
            <a:ext cx="13317538" cy="73548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8B6C8F45-1379-FC67-16DE-1294694EE2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9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E4A86EE-8FE2-E479-7C81-BC616E76D62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42937" y="3218659"/>
            <a:ext cx="13317538" cy="4136230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16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1pPr>
            <a:lvl2pPr marL="731461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1188624" indent="-274298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256011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3291576" indent="-365731">
              <a:buClr>
                <a:schemeClr val="bg2"/>
              </a:buClr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7703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. Title-Speakers">
    <p:bg>
      <p:bgPr>
        <a:solidFill>
          <a:srgbClr val="242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DDCC150D-0CBE-D544-A38A-18D4DDBB1B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2842" y="-1909679"/>
            <a:ext cx="12048958" cy="1204895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8FA8F7-737F-AA44-8D59-B740CA6446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8975" y="2967399"/>
            <a:ext cx="9827881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tx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BDB518-DFA5-2847-B34E-0F71C4343123}"/>
              </a:ext>
            </a:extLst>
          </p:cNvPr>
          <p:cNvCxnSpPr>
            <a:cxnSpLocks/>
          </p:cNvCxnSpPr>
          <p:nvPr userDrawn="1"/>
        </p:nvCxnSpPr>
        <p:spPr>
          <a:xfrm>
            <a:off x="703063" y="3850263"/>
            <a:ext cx="13260072" cy="0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5C03CA6-951A-4B23-B523-6F0D910AD6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E463EF2-8532-4F2E-AF08-A20B6132EC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1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9896F0B-F34B-5AF7-F687-1D7A825CF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GB" dirty="0"/>
              <a:t>Click to edit Master title style</a:t>
            </a:r>
            <a:endParaRPr lang="en-MX" dirty="0"/>
          </a:p>
        </p:txBody>
      </p:sp>
    </p:spTree>
    <p:extLst>
      <p:ext uri="{BB962C8B-B14F-4D97-AF65-F5344CB8AC3E}">
        <p14:creationId xmlns:p14="http://schemas.microsoft.com/office/powerpoint/2010/main" val="1437750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. Title-Speaker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DDCC150D-0CBE-D544-A38A-18D4DDBB1B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2842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5361" y="722313"/>
            <a:ext cx="9827882" cy="1958916"/>
          </a:xfrm>
        </p:spPr>
        <p:txBody>
          <a:bodyPr anchor="b">
            <a:noAutofit/>
          </a:bodyPr>
          <a:lstStyle>
            <a:lvl1pPr algn="l">
              <a:defRPr sz="5400" b="0" i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8FA8F7-737F-AA44-8D59-B740CA6446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8975" y="2967399"/>
            <a:ext cx="9827881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tx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BDB518-DFA5-2847-B34E-0F71C4343123}"/>
              </a:ext>
            </a:extLst>
          </p:cNvPr>
          <p:cNvCxnSpPr>
            <a:cxnSpLocks/>
          </p:cNvCxnSpPr>
          <p:nvPr userDrawn="1"/>
        </p:nvCxnSpPr>
        <p:spPr>
          <a:xfrm>
            <a:off x="703063" y="3850263"/>
            <a:ext cx="13260072" cy="0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566345-17A7-6BC8-5B86-AC1AD4D7443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428ED1-374B-3A83-CD76-BFDB84EB10F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178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1. Title-Speak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DDCC150D-0CBE-D544-A38A-18D4DDBB1B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2842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5361" y="722313"/>
            <a:ext cx="9827882" cy="1958916"/>
          </a:xfrm>
        </p:spPr>
        <p:txBody>
          <a:bodyPr anchor="b">
            <a:noAutofit/>
          </a:bodyPr>
          <a:lstStyle>
            <a:lvl1pPr algn="l">
              <a:defRPr sz="5400" b="0" i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8FA8F7-737F-AA44-8D59-B740CA6446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8975" y="2967399"/>
            <a:ext cx="9827881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tx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BDB518-DFA5-2847-B34E-0F71C4343123}"/>
              </a:ext>
            </a:extLst>
          </p:cNvPr>
          <p:cNvCxnSpPr>
            <a:cxnSpLocks/>
          </p:cNvCxnSpPr>
          <p:nvPr userDrawn="1"/>
        </p:nvCxnSpPr>
        <p:spPr>
          <a:xfrm>
            <a:off x="703063" y="3850263"/>
            <a:ext cx="13260072" cy="0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CE361-CB13-A8D4-E9D1-6E4EAA1DEBB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398D59-C2ED-6F55-C0FF-BDF071112E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A52A9C5-EE20-F439-29A8-4245866753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613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. Title-Speak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DDCC150D-0CBE-D544-A38A-18D4DDBB1B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3475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5361" y="722313"/>
            <a:ext cx="9827882" cy="1958916"/>
          </a:xfrm>
        </p:spPr>
        <p:txBody>
          <a:bodyPr anchor="b">
            <a:noAutofit/>
          </a:bodyPr>
          <a:lstStyle>
            <a:lvl1pPr algn="l">
              <a:defRPr sz="5400" b="0" i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8FA8F7-737F-AA44-8D59-B740CA6446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8975" y="2967399"/>
            <a:ext cx="9827881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tx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BDB518-DFA5-2847-B34E-0F71C4343123}"/>
              </a:ext>
            </a:extLst>
          </p:cNvPr>
          <p:cNvCxnSpPr>
            <a:cxnSpLocks/>
          </p:cNvCxnSpPr>
          <p:nvPr userDrawn="1"/>
        </p:nvCxnSpPr>
        <p:spPr>
          <a:xfrm>
            <a:off x="703063" y="3850263"/>
            <a:ext cx="13260072" cy="0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021556-8B3E-F0AD-59DF-AC264007CA1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C8FEB0-F7C8-0B2E-5FF3-B479D1E911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FB894E6-8D2D-F890-1FAF-6C16A8994B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4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1. Title-Speaker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DDCC150D-0CBE-D544-A38A-18D4DDBB1B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2842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5361" y="722313"/>
            <a:ext cx="9827882" cy="1958916"/>
          </a:xfrm>
        </p:spPr>
        <p:txBody>
          <a:bodyPr anchor="b">
            <a:noAutofit/>
          </a:bodyPr>
          <a:lstStyle>
            <a:lvl1pPr algn="l">
              <a:defRPr sz="5400" b="0" i="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8FA8F7-737F-AA44-8D59-B740CA6446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8975" y="2967399"/>
            <a:ext cx="9827881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tx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1BDB518-DFA5-2847-B34E-0F71C4343123}"/>
              </a:ext>
            </a:extLst>
          </p:cNvPr>
          <p:cNvCxnSpPr>
            <a:cxnSpLocks/>
          </p:cNvCxnSpPr>
          <p:nvPr userDrawn="1"/>
        </p:nvCxnSpPr>
        <p:spPr>
          <a:xfrm>
            <a:off x="703063" y="3850263"/>
            <a:ext cx="13260072" cy="0"/>
          </a:xfrm>
          <a:prstGeom prst="line">
            <a:avLst/>
          </a:prstGeom>
          <a:ln w="6350" cmpd="sng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755615-754D-0500-B727-222AF305C25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A36820-EF11-1178-C98F-E01649AE47E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999AEAB-5A12-5E28-A682-99F0FF4F446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954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ndigo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4986C95-900D-F2FA-76F4-62057B495631}"/>
              </a:ext>
            </a:extLst>
          </p:cNvPr>
          <p:cNvSpPr/>
          <p:nvPr userDrawn="1"/>
        </p:nvSpPr>
        <p:spPr>
          <a:xfrm>
            <a:off x="0" y="0"/>
            <a:ext cx="14630400" cy="6051820"/>
          </a:xfrm>
          <a:prstGeom prst="rect">
            <a:avLst/>
          </a:prstGeom>
          <a:solidFill>
            <a:srgbClr val="242563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9B5786F-9197-6D08-C33D-4033C6378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781" t="35478" r="11588" b="35478"/>
          <a:stretch/>
        </p:blipFill>
        <p:spPr>
          <a:xfrm>
            <a:off x="0" y="0"/>
            <a:ext cx="10758792" cy="60518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0590D1-2FD9-C531-5132-92023A763C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049" y="3325274"/>
            <a:ext cx="6105979" cy="1913724"/>
          </a:xfrm>
          <a:prstGeom prst="rect">
            <a:avLst/>
          </a:prstGeom>
        </p:spPr>
        <p:txBody>
          <a:bodyPr/>
          <a:lstStyle>
            <a:lvl1pPr>
              <a:defRPr sz="720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134C186-817D-8AEB-1628-3EBDA24C8C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05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F8A0936-D726-922A-F6FD-090A6EE10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7241" y="34749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2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1BB3536-B125-5971-5695-2B15824DC225}"/>
              </a:ext>
            </a:extLst>
          </p:cNvPr>
          <p:cNvCxnSpPr>
            <a:cxnSpLocks/>
          </p:cNvCxnSpPr>
          <p:nvPr userDrawn="1"/>
        </p:nvCxnSpPr>
        <p:spPr>
          <a:xfrm>
            <a:off x="654050" y="735148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9034928-B662-9F21-560E-D1F1E737044B}"/>
              </a:ext>
            </a:extLst>
          </p:cNvPr>
          <p:cNvSpPr txBox="1"/>
          <p:nvPr userDrawn="1"/>
        </p:nvSpPr>
        <p:spPr>
          <a:xfrm>
            <a:off x="654051" y="7655899"/>
            <a:ext cx="5988781" cy="1661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097236"/>
            <a:r>
              <a:rPr lang="en-US" sz="1080" b="0" kern="100" spc="120" dirty="0">
                <a:solidFill>
                  <a:prstClr val="whit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97A4ACC-C267-50F6-B760-542EF08E38DA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2C302C6-491C-4652-EFC0-B157AAE5CFE0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09C3E93-F44F-5BBB-F707-1BD2A9BE00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4732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. Title-Slide">
    <p:bg>
      <p:bgPr>
        <a:solidFill>
          <a:srgbClr val="242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DBB1E3-4257-4F0B-840D-5503436BAD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591633"/>
            <a:ext cx="5619113" cy="2087977"/>
          </a:xfrm>
        </p:spPr>
        <p:txBody>
          <a:bodyPr anchor="b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4" y="5965780"/>
            <a:ext cx="5619112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96C8994-9221-48F2-A136-ECCCB5D8B3C2}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2122E2-90BF-13EA-984B-F6C6AD23E02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B5A754-AD42-D99E-BF6D-F3D6D2B316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0365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2. Title-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DBB1E3-4257-4F0B-840D-5503436BAD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591633"/>
            <a:ext cx="5619113" cy="2087977"/>
          </a:xfrm>
        </p:spPr>
        <p:txBody>
          <a:bodyPr anchor="b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4" y="5965780"/>
            <a:ext cx="5619112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96C8994-9221-48F2-A136-ECCCB5D8B3C2}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A24DE0E-6AE4-0744-8963-50149C75D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5543" y="1477986"/>
            <a:ext cx="3390345" cy="89447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AE52B7-793C-23ED-B4AB-2BD0A4AFE5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06BA0B-CE33-0694-C05D-6B24CB02E84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8519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2. Title-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DBB1E3-4257-4F0B-840D-5503436BAD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591633"/>
            <a:ext cx="5619113" cy="2087977"/>
          </a:xfrm>
        </p:spPr>
        <p:txBody>
          <a:bodyPr anchor="b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4" y="5965780"/>
            <a:ext cx="5619112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96C8994-9221-48F2-A136-ECCCB5D8B3C2}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ED555C0-6A27-6D43-AA56-2B0C8CB520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5543" y="1477986"/>
            <a:ext cx="3390345" cy="89447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3E11E0-6D7C-5262-96E2-DECDE34447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9DC2C7-29D2-CEBD-FB15-978C1A077BB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3539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2. Title-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DBB1E3-4257-4F0B-840D-5503436BAD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591633"/>
            <a:ext cx="5619113" cy="2087977"/>
          </a:xfrm>
        </p:spPr>
        <p:txBody>
          <a:bodyPr anchor="b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4" y="5965780"/>
            <a:ext cx="5619112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96C8994-9221-48F2-A136-ECCCB5D8B3C2}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F5725F1-C30E-F44E-BDD4-BD052E7B04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5543" y="1477986"/>
            <a:ext cx="3390345" cy="89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2046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2. Title-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DBB1E3-4257-4F0B-840D-5503436BAD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591633"/>
            <a:ext cx="5619113" cy="2087977"/>
          </a:xfrm>
        </p:spPr>
        <p:txBody>
          <a:bodyPr anchor="b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4" y="5965780"/>
            <a:ext cx="5619112" cy="509704"/>
          </a:xfrm>
        </p:spPr>
        <p:txBody>
          <a:bodyPr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96C8994-9221-48F2-A136-ECCCB5D8B3C2}"/>
              </a:ext>
            </a:extLst>
          </p:cNvPr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B920703-F36E-AF41-8167-871B54EDB7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5543" y="1477986"/>
            <a:ext cx="3390345" cy="894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2694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. Title-Slide">
    <p:bg>
      <p:bgPr>
        <a:solidFill>
          <a:srgbClr val="242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040091"/>
            <a:ext cx="9255785" cy="1560938"/>
          </a:xfrm>
        </p:spPr>
        <p:txBody>
          <a:bodyPr anchor="ctr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3" y="4615951"/>
            <a:ext cx="9255783" cy="509704"/>
          </a:xfrm>
        </p:spPr>
        <p:txBody>
          <a:bodyPr anchor="ctr"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32E8EF-326C-4CE5-9313-CE28D8B2F215}"/>
              </a:ext>
            </a:extLst>
          </p:cNvPr>
          <p:cNvSpPr/>
          <p:nvPr userDrawn="1"/>
        </p:nvSpPr>
        <p:spPr>
          <a:xfrm>
            <a:off x="10998199" y="0"/>
            <a:ext cx="3632201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C177174-4FA4-4DB5-9C1E-51BFACFA2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484665" y="727569"/>
            <a:ext cx="2659267" cy="70159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73B3A01-3E78-AF47-B127-02351DC3DF7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BA4C96-7ABE-A7D9-B542-27DBC065FC3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0966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2. Title-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040091"/>
            <a:ext cx="9255785" cy="1560938"/>
          </a:xfrm>
        </p:spPr>
        <p:txBody>
          <a:bodyPr anchor="ctr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3" y="4615951"/>
            <a:ext cx="9255783" cy="509704"/>
          </a:xfrm>
        </p:spPr>
        <p:txBody>
          <a:bodyPr anchor="ctr"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32E8EF-326C-4CE5-9313-CE28D8B2F215}"/>
              </a:ext>
            </a:extLst>
          </p:cNvPr>
          <p:cNvSpPr/>
          <p:nvPr userDrawn="1"/>
        </p:nvSpPr>
        <p:spPr>
          <a:xfrm>
            <a:off x="10998199" y="0"/>
            <a:ext cx="3632201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93277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2. Title-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040091"/>
            <a:ext cx="9255785" cy="1560938"/>
          </a:xfrm>
        </p:spPr>
        <p:txBody>
          <a:bodyPr anchor="ctr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3" y="4615951"/>
            <a:ext cx="9255783" cy="509704"/>
          </a:xfrm>
        </p:spPr>
        <p:txBody>
          <a:bodyPr anchor="ctr"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32E8EF-326C-4CE5-9313-CE28D8B2F215}"/>
              </a:ext>
            </a:extLst>
          </p:cNvPr>
          <p:cNvSpPr/>
          <p:nvPr userDrawn="1"/>
        </p:nvSpPr>
        <p:spPr>
          <a:xfrm>
            <a:off x="10998199" y="0"/>
            <a:ext cx="3632201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200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2. Title-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040091"/>
            <a:ext cx="9255785" cy="1560938"/>
          </a:xfrm>
        </p:spPr>
        <p:txBody>
          <a:bodyPr anchor="ctr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3" y="4615951"/>
            <a:ext cx="9255783" cy="509704"/>
          </a:xfrm>
        </p:spPr>
        <p:txBody>
          <a:bodyPr anchor="ctr"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32E8EF-326C-4CE5-9313-CE28D8B2F215}"/>
              </a:ext>
            </a:extLst>
          </p:cNvPr>
          <p:cNvSpPr/>
          <p:nvPr userDrawn="1"/>
        </p:nvSpPr>
        <p:spPr>
          <a:xfrm>
            <a:off x="10998199" y="0"/>
            <a:ext cx="3632201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8688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2. Title-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ED750C9-6A67-44EA-AF54-FA5FFAD4B3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21929" y="3040091"/>
            <a:ext cx="9255785" cy="1560938"/>
          </a:xfrm>
        </p:spPr>
        <p:txBody>
          <a:bodyPr anchor="ctr">
            <a:noAutofit/>
          </a:bodyPr>
          <a:lstStyle>
            <a:lvl1pPr algn="l">
              <a:defRPr sz="6000" b="0" i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algn="l"/>
            <a:r>
              <a:rPr lang="en-US" sz="5400" dirty="0"/>
              <a:t>This would</a:t>
            </a:r>
            <a:br>
              <a:rPr lang="en-US" sz="5400" dirty="0"/>
            </a:br>
            <a:r>
              <a:rPr lang="en-US" sz="5400" dirty="0"/>
              <a:t>be a title slid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1F9E55-BA70-4559-AE14-F03C520FFB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35543" y="4615951"/>
            <a:ext cx="9255783" cy="509704"/>
          </a:xfrm>
        </p:spPr>
        <p:txBody>
          <a:bodyPr anchor="ctr"/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32E8EF-326C-4CE5-9313-CE28D8B2F215}"/>
              </a:ext>
            </a:extLst>
          </p:cNvPr>
          <p:cNvSpPr/>
          <p:nvPr userDrawn="1"/>
        </p:nvSpPr>
        <p:spPr>
          <a:xfrm>
            <a:off x="10998199" y="0"/>
            <a:ext cx="3632201" cy="8229600"/>
          </a:xfrm>
          <a:prstGeom prst="rect">
            <a:avLst/>
          </a:prstGeom>
          <a:solidFill>
            <a:schemeClr val="bg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bg1"/>
              </a:solidFill>
              <a:latin typeface="Avenir Next" panose="020B0503020202020204" pitchFamily="34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30453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 userDrawn="1"/>
        </p:nvSpPr>
        <p:spPr>
          <a:xfrm>
            <a:off x="-1" y="0"/>
            <a:ext cx="9487438" cy="82296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1ED612-7755-BDB6-0158-DB037C5FF1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2" y="-1"/>
            <a:ext cx="12590855" cy="8229601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4E2A8BB-313A-7F7C-EBA3-3C5248E77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51" y="5003502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0165874E-37DE-E633-CB21-9E9B3CF44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1590" y="293068"/>
            <a:ext cx="5619112" cy="509704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None/>
              <a:defRPr sz="11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© 2024 MEDECISION, INC. PROPRIETARY AND CONFIDENTIAL</a:t>
            </a: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35B04A97-FCD6-50CC-AB58-B97CF65E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3271811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C72D8B3E-E004-AF6D-4C75-D32640D1F0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2" y="322822"/>
            <a:ext cx="1654547" cy="437676"/>
          </a:xfrm>
          <a:prstGeom prst="rect">
            <a:avLst/>
          </a:prstGeom>
        </p:spPr>
      </p:pic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60E86110-134A-0CA7-ED47-7BEF60FF71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AEFC384-7A6A-4950-86A7-692B109175E2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5EA6FF-D8ED-4BA7-EE00-BA8323133EEE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144930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evider 1">
    <p:bg bwMode="auto">
      <p:bgPr>
        <a:solidFill>
          <a:srgbClr val="242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98832" y="3367010"/>
            <a:ext cx="13272756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695232" y="2402131"/>
            <a:ext cx="13276356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F83917-53FF-A9AB-80B0-E0A14A3F46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18A661-6B5E-404B-F336-4798BE9A13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F356FCE-564C-478F-6E26-CD276FB55A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5498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evider 1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620208A6-2C64-DD4D-AC01-8C216AFE9D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2842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98832" y="3367010"/>
            <a:ext cx="13272756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695232" y="2402131"/>
            <a:ext cx="13276356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E22FD4-23BB-CE51-2CA4-F38220879B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21366-76A4-6164-4647-699AF7C11C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822E493-E167-69A3-B6E3-51CC221030A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887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evider 1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620208A6-2C64-DD4D-AC01-8C216AFE9D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2842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98832" y="3367010"/>
            <a:ext cx="13272756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695232" y="2402131"/>
            <a:ext cx="13276356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303225-CD7D-FB87-4D7B-A0A3419842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FFCC83-2F55-89C6-3DB4-B33628A901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9CED37B-8BC8-3970-375C-21EFAD3A29B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4275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evider 1">
    <p:bg bwMode="auto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620208A6-2C64-DD4D-AC01-8C216AFE9D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2842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98832" y="3367010"/>
            <a:ext cx="13272756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695232" y="2402131"/>
            <a:ext cx="13276356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5B57F2-7BD4-0E83-ADC5-0B13D336D0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82F50-510E-E2B7-076C-7B1DBD31BA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61A3CA6-D1CC-7294-DB28-0C66A4A160C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4147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evider 1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phic 22">
            <a:extLst>
              <a:ext uri="{FF2B5EF4-FFF2-40B4-BE49-F238E27FC236}">
                <a16:creationId xmlns:a16="http://schemas.microsoft.com/office/drawing/2014/main" id="{620208A6-2C64-DD4D-AC01-8C216AFE9D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2842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98832" y="3367010"/>
            <a:ext cx="13272756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695232" y="2402131"/>
            <a:ext cx="13276356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19BA5A-6C9E-792D-1E61-3D95F8C3B5E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7EE9C3-B58D-D707-A46B-B7C6659EA4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7EDC2D5-1324-0DDA-E435-000C6F1B93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3156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evider 2">
    <p:bg bwMode="auto">
      <p:bgPr>
        <a:solidFill>
          <a:srgbClr val="242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C0ECAFE2-6D51-1D4F-80C5-DE7DF0D6E9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5279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363386" y="3367010"/>
            <a:ext cx="9608202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359786" y="2402131"/>
            <a:ext cx="9611802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3E15BE7-A9D3-7842-7234-19873A4EAA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2680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evider 2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C0ECAFE2-6D51-1D4F-80C5-DE7DF0D6E9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5279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363386" y="3367010"/>
            <a:ext cx="9608202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359786" y="2402131"/>
            <a:ext cx="9611802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A6573E-C502-5857-9943-7962C7A2FC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56683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evider 2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C0ECAFE2-6D51-1D4F-80C5-DE7DF0D6E9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5279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363386" y="3367010"/>
            <a:ext cx="9608202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359786" y="2402131"/>
            <a:ext cx="9611802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79ACBF8-EB16-C084-6CC0-81ED06FB9BA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77338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evider 2">
    <p:bg bwMode="auto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C0ECAFE2-6D51-1D4F-80C5-DE7DF0D6E9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5279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363386" y="3367010"/>
            <a:ext cx="9608202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359786" y="2402131"/>
            <a:ext cx="9611802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B9DFF48-32EE-1394-A684-5BE00EEA01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CB373E-B495-1326-31C1-78B285D9DD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9BBBD2D-57EC-BF31-4052-FF55A218FB6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3560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evider 2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C0ECAFE2-6D51-1D4F-80C5-DE7DF0D6E9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3535279" y="-1909679"/>
            <a:ext cx="12048958" cy="120489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363386" y="3367010"/>
            <a:ext cx="9608202" cy="22000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8000" b="0" i="0" dirty="0">
                <a:solidFill>
                  <a:schemeClr val="bg1"/>
                </a:solidFill>
                <a:latin typeface="Avenir Next" panose="020B0503020202020204" pitchFamily="34" charset="0"/>
              </a:defRPr>
            </a:lvl1pPr>
          </a:lstStyle>
          <a:p>
            <a:pPr marL="0"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A96CBC8-3EA8-48A2-AB21-0CB2413BFD2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359786" y="2402131"/>
            <a:ext cx="9611802" cy="768096"/>
          </a:xfrm>
        </p:spPr>
        <p:txBody>
          <a:bodyPr vert="horz" lIns="0" tIns="0" rIns="0" bIns="0" rtlCol="0">
            <a:noAutofit/>
          </a:bodyPr>
          <a:lstStyle>
            <a:lvl1pPr>
              <a:defRPr lang="en-US" sz="2800" b="0" i="0" dirty="0">
                <a:solidFill>
                  <a:schemeClr val="bg1"/>
                </a:solidFill>
                <a:latin typeface="Avenir Next" panose="020B0503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2F4BB8-2D3B-0D32-1E8C-3F651EADAE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71CF41-BF37-4F46-F106-0C3B4BF3C5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8863EBD-ED6E-CCD4-AED5-8D4A7A5561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5332" y="7547479"/>
            <a:ext cx="1542681" cy="40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482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2686B64-E0AA-5C66-8624-60C29255741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494588" cy="4114800"/>
          </a:xfrm>
          <a:prstGeom prst="rect">
            <a:avLst/>
          </a:prstGeom>
          <a:solidFill>
            <a:schemeClr val="tx2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668798B-A4D2-BCC1-17E7-F83096635326}"/>
              </a:ext>
            </a:extLst>
          </p:cNvPr>
          <p:cNvSpPr/>
          <p:nvPr userDrawn="1"/>
        </p:nvSpPr>
        <p:spPr>
          <a:xfrm>
            <a:off x="-1" y="4114800"/>
            <a:ext cx="14630401" cy="4114800"/>
          </a:xfrm>
          <a:prstGeom prst="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31ED612-7755-BDB6-0158-DB037C5FF1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1597" t="35478" r="13969" b="35478"/>
          <a:stretch/>
        </p:blipFill>
        <p:spPr>
          <a:xfrm>
            <a:off x="2" y="-1"/>
            <a:ext cx="12590855" cy="8229601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4E2A8BB-313A-7F7C-EBA3-3C5248E77B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051" y="6659014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 9">
            <a:extLst>
              <a:ext uri="{FF2B5EF4-FFF2-40B4-BE49-F238E27FC236}">
                <a16:creationId xmlns:a16="http://schemas.microsoft.com/office/drawing/2014/main" id="{35B04A97-FCD6-50CC-AB58-B97CF65E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4927322"/>
            <a:ext cx="6193064" cy="15906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Picture 13">
            <a:extLst>
              <a:ext uri="{FF2B5EF4-FFF2-40B4-BE49-F238E27FC236}">
                <a16:creationId xmlns:a16="http://schemas.microsoft.com/office/drawing/2014/main" id="{C72D8B3E-E004-AF6D-4C75-D32640D1F0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172" y="322822"/>
            <a:ext cx="1654547" cy="437676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8C48B77-DE6A-E4C4-DAEE-30B8F130C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342158" y="7640320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C5C54B9-BC33-4775-13B7-7CCEC1EFBB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28677" y="292745"/>
            <a:ext cx="5619112" cy="509704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© 2024 MEDECISION, INC. PROPRIETARY AND CONFIDENTI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B18CA32-3DAD-76AE-1206-B4537FFE2CD3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9B4A9B9-9391-8607-29FB-39CA25EED6D0}"/>
              </a:ext>
            </a:extLst>
          </p:cNvPr>
          <p:cNvCxnSpPr>
            <a:cxnSpLocks/>
          </p:cNvCxnSpPr>
          <p:nvPr userDrawn="1"/>
        </p:nvCxnSpPr>
        <p:spPr>
          <a:xfrm>
            <a:off x="654050" y="965578"/>
            <a:ext cx="13317538" cy="0"/>
          </a:xfrm>
          <a:prstGeom prst="line">
            <a:avLst/>
          </a:prstGeom>
          <a:ln w="19050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09713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a. 1-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77388" y="2137144"/>
            <a:ext cx="13290550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>
                <a:latin typeface="Avenir Next" panose="020B050302020202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2000" b="0" i="0">
                <a:latin typeface="Avenir Next" panose="020B0503020202020204" pitchFamily="34" charset="0"/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000" b="0" i="0">
                <a:latin typeface="Avenir Next" panose="020B0503020202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C2AAB3E-7A16-234B-8430-A824CC934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0549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: 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A2437AF-845E-4AC2-9321-5800213F6A9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3A13982-F335-DABE-FEF6-99E566FA3BF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FB596E-AA2B-E5C0-7552-A51DA4A4043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246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a. 1-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EA132EF-28E3-E24E-ACFF-FB9F49F8F3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78646" y="964593"/>
            <a:ext cx="12048958" cy="12048958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494588" y="731518"/>
            <a:ext cx="6473350" cy="6623369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C2AAB3E-7A16-234B-8430-A824CC934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8" y="731519"/>
            <a:ext cx="6458426" cy="961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: 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A2437AF-845E-4AC2-9321-5800213F6A9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8" y="1927939"/>
            <a:ext cx="6458426" cy="372809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B68B4E9-B26A-F3BA-D7EA-7A85E697CB0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C66C8F-3F10-2D47-8AB4-485C834C964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126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a. 1-Line Header,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B3937D4-54EF-4768-BA7A-29434E549D2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8" y="2137144"/>
            <a:ext cx="6458425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B4EEB9-0876-45A5-9AF5-FDFF299E9B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4201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: Click to edit Master title style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FDC9F5E7-D299-4AC4-8DA1-9B41F6069B0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510132" y="2137144"/>
            <a:ext cx="6458425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38989E2-765E-7A40-A3F0-77D0239A0BF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B48B5E-E53A-65C3-E0C6-441A228E3B2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98A057-72A4-03AE-30B2-E530858C118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8013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5a. 1-Line Header,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B3937D4-54EF-4768-BA7A-29434E549D2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8" y="2137144"/>
            <a:ext cx="4136659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B4EEB9-0876-45A5-9AF5-FDFF299E9B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4201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: Click to edit Master title style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FDC9F5E7-D299-4AC4-8DA1-9B41F6069B0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256159" y="2137144"/>
            <a:ext cx="4136659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F0AC10CE-547F-A54D-9E48-ECD1AFD0D8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834929" y="2137144"/>
            <a:ext cx="4136659" cy="521774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5CAE910F-9594-BF48-B0F2-5508EB84634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80ADA2C-34D7-B177-A54C-96368AAECE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BEC54C-FB5E-F69C-119E-B93C987B763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6142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5a. 1-Line Header,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367BEA25-D7E8-4528-B281-72577D3C42A5}"/>
              </a:ext>
            </a:extLst>
          </p:cNvPr>
          <p:cNvSpPr/>
          <p:nvPr userDrawn="1"/>
        </p:nvSpPr>
        <p:spPr>
          <a:xfrm>
            <a:off x="5082493" y="1981887"/>
            <a:ext cx="1032516" cy="1060076"/>
          </a:xfrm>
          <a:custGeom>
            <a:avLst/>
            <a:gdLst>
              <a:gd name="connsiteX0" fmla="*/ 603671 w 1032516"/>
              <a:gd name="connsiteY0" fmla="*/ 2158 h 1060076"/>
              <a:gd name="connsiteX1" fmla="*/ 579763 w 1032516"/>
              <a:gd name="connsiteY1" fmla="*/ 664 h 1060076"/>
              <a:gd name="connsiteX2" fmla="*/ 458730 w 1032516"/>
              <a:gd name="connsiteY2" fmla="*/ 664 h 1060076"/>
              <a:gd name="connsiteX3" fmla="*/ 395972 w 1032516"/>
              <a:gd name="connsiteY3" fmla="*/ 9629 h 1060076"/>
              <a:gd name="connsiteX4" fmla="*/ 330226 w 1032516"/>
              <a:gd name="connsiteY4" fmla="*/ 32043 h 1060076"/>
              <a:gd name="connsiteX5" fmla="*/ 316778 w 1032516"/>
              <a:gd name="connsiteY5" fmla="*/ 38020 h 1060076"/>
              <a:gd name="connsiteX6" fmla="*/ 279422 w 1032516"/>
              <a:gd name="connsiteY6" fmla="*/ 57445 h 1060076"/>
              <a:gd name="connsiteX7" fmla="*/ 271951 w 1032516"/>
              <a:gd name="connsiteY7" fmla="*/ 61928 h 1060076"/>
              <a:gd name="connsiteX8" fmla="*/ 239078 w 1032516"/>
              <a:gd name="connsiteY8" fmla="*/ 81353 h 1060076"/>
              <a:gd name="connsiteX9" fmla="*/ 236089 w 1032516"/>
              <a:gd name="connsiteY9" fmla="*/ 82847 h 1060076"/>
              <a:gd name="connsiteX10" fmla="*/ 200228 w 1032516"/>
              <a:gd name="connsiteY10" fmla="*/ 103766 h 1060076"/>
              <a:gd name="connsiteX11" fmla="*/ 186779 w 1032516"/>
              <a:gd name="connsiteY11" fmla="*/ 112732 h 1060076"/>
              <a:gd name="connsiteX12" fmla="*/ 182297 w 1032516"/>
              <a:gd name="connsiteY12" fmla="*/ 115720 h 1060076"/>
              <a:gd name="connsiteX13" fmla="*/ 140458 w 1032516"/>
              <a:gd name="connsiteY13" fmla="*/ 154570 h 1060076"/>
              <a:gd name="connsiteX14" fmla="*/ 137470 w 1032516"/>
              <a:gd name="connsiteY14" fmla="*/ 157559 h 1060076"/>
              <a:gd name="connsiteX15" fmla="*/ 77700 w 1032516"/>
              <a:gd name="connsiteY15" fmla="*/ 224799 h 1060076"/>
              <a:gd name="connsiteX16" fmla="*/ 52298 w 1032516"/>
              <a:gd name="connsiteY16" fmla="*/ 259167 h 1060076"/>
              <a:gd name="connsiteX17" fmla="*/ 19425 w 1032516"/>
              <a:gd name="connsiteY17" fmla="*/ 315948 h 1060076"/>
              <a:gd name="connsiteX18" fmla="*/ 4483 w 1032516"/>
              <a:gd name="connsiteY18" fmla="*/ 368246 h 1060076"/>
              <a:gd name="connsiteX19" fmla="*/ 1494 w 1032516"/>
              <a:gd name="connsiteY19" fmla="*/ 387671 h 1060076"/>
              <a:gd name="connsiteX20" fmla="*/ 0 w 1032516"/>
              <a:gd name="connsiteY20" fmla="*/ 451923 h 1060076"/>
              <a:gd name="connsiteX21" fmla="*/ 8965 w 1032516"/>
              <a:gd name="connsiteY21" fmla="*/ 532612 h 1060076"/>
              <a:gd name="connsiteX22" fmla="*/ 22414 w 1032516"/>
              <a:gd name="connsiteY22" fmla="*/ 601347 h 1060076"/>
              <a:gd name="connsiteX23" fmla="*/ 31379 w 1032516"/>
              <a:gd name="connsiteY23" fmla="*/ 635714 h 1060076"/>
              <a:gd name="connsiteX24" fmla="*/ 62758 w 1032516"/>
              <a:gd name="connsiteY24" fmla="*/ 719391 h 1060076"/>
              <a:gd name="connsiteX25" fmla="*/ 94137 w 1032516"/>
              <a:gd name="connsiteY25" fmla="*/ 782149 h 1060076"/>
              <a:gd name="connsiteX26" fmla="*/ 101608 w 1032516"/>
              <a:gd name="connsiteY26" fmla="*/ 795597 h 1060076"/>
              <a:gd name="connsiteX27" fmla="*/ 153906 w 1032516"/>
              <a:gd name="connsiteY27" fmla="*/ 879275 h 1060076"/>
              <a:gd name="connsiteX28" fmla="*/ 155400 w 1032516"/>
              <a:gd name="connsiteY28" fmla="*/ 880769 h 1060076"/>
              <a:gd name="connsiteX29" fmla="*/ 173331 w 1032516"/>
              <a:gd name="connsiteY29" fmla="*/ 904676 h 1060076"/>
              <a:gd name="connsiteX30" fmla="*/ 180802 w 1032516"/>
              <a:gd name="connsiteY30" fmla="*/ 913642 h 1060076"/>
              <a:gd name="connsiteX31" fmla="*/ 233101 w 1032516"/>
              <a:gd name="connsiteY31" fmla="*/ 965940 h 1060076"/>
              <a:gd name="connsiteX32" fmla="*/ 277928 w 1032516"/>
              <a:gd name="connsiteY32" fmla="*/ 995825 h 1060076"/>
              <a:gd name="connsiteX33" fmla="*/ 348157 w 1032516"/>
              <a:gd name="connsiteY33" fmla="*/ 1025710 h 1060076"/>
              <a:gd name="connsiteX34" fmla="*/ 352640 w 1032516"/>
              <a:gd name="connsiteY34" fmla="*/ 1027204 h 1060076"/>
              <a:gd name="connsiteX35" fmla="*/ 401949 w 1032516"/>
              <a:gd name="connsiteY35" fmla="*/ 1045135 h 1060076"/>
              <a:gd name="connsiteX36" fmla="*/ 481144 w 1032516"/>
              <a:gd name="connsiteY36" fmla="*/ 1058583 h 1060076"/>
              <a:gd name="connsiteX37" fmla="*/ 512523 w 1032516"/>
              <a:gd name="connsiteY37" fmla="*/ 1060077 h 1060076"/>
              <a:gd name="connsiteX38" fmla="*/ 521488 w 1032516"/>
              <a:gd name="connsiteY38" fmla="*/ 1060077 h 1060076"/>
              <a:gd name="connsiteX39" fmla="*/ 549879 w 1032516"/>
              <a:gd name="connsiteY39" fmla="*/ 1060077 h 1060076"/>
              <a:gd name="connsiteX40" fmla="*/ 554361 w 1032516"/>
              <a:gd name="connsiteY40" fmla="*/ 1060077 h 1060076"/>
              <a:gd name="connsiteX41" fmla="*/ 585740 w 1032516"/>
              <a:gd name="connsiteY41" fmla="*/ 1058583 h 1060076"/>
              <a:gd name="connsiteX42" fmla="*/ 593212 w 1032516"/>
              <a:gd name="connsiteY42" fmla="*/ 1058583 h 1060076"/>
              <a:gd name="connsiteX43" fmla="*/ 624590 w 1032516"/>
              <a:gd name="connsiteY43" fmla="*/ 1055594 h 1060076"/>
              <a:gd name="connsiteX44" fmla="*/ 684360 w 1032516"/>
              <a:gd name="connsiteY44" fmla="*/ 1043640 h 1060076"/>
              <a:gd name="connsiteX45" fmla="*/ 753095 w 1032516"/>
              <a:gd name="connsiteY45" fmla="*/ 1019733 h 1060076"/>
              <a:gd name="connsiteX46" fmla="*/ 760566 w 1032516"/>
              <a:gd name="connsiteY46" fmla="*/ 1016744 h 1060076"/>
              <a:gd name="connsiteX47" fmla="*/ 830795 w 1032516"/>
              <a:gd name="connsiteY47" fmla="*/ 977894 h 1060076"/>
              <a:gd name="connsiteX48" fmla="*/ 884587 w 1032516"/>
              <a:gd name="connsiteY48" fmla="*/ 934561 h 1060076"/>
              <a:gd name="connsiteX49" fmla="*/ 935391 w 1032516"/>
              <a:gd name="connsiteY49" fmla="*/ 880769 h 1060076"/>
              <a:gd name="connsiteX50" fmla="*/ 977230 w 1032516"/>
              <a:gd name="connsiteY50" fmla="*/ 816517 h 1060076"/>
              <a:gd name="connsiteX51" fmla="*/ 1004126 w 1032516"/>
              <a:gd name="connsiteY51" fmla="*/ 746288 h 1060076"/>
              <a:gd name="connsiteX52" fmla="*/ 1014586 w 1032516"/>
              <a:gd name="connsiteY52" fmla="*/ 704449 h 1060076"/>
              <a:gd name="connsiteX53" fmla="*/ 1023551 w 1032516"/>
              <a:gd name="connsiteY53" fmla="*/ 655139 h 1060076"/>
              <a:gd name="connsiteX54" fmla="*/ 1026540 w 1032516"/>
              <a:gd name="connsiteY54" fmla="*/ 637208 h 1060076"/>
              <a:gd name="connsiteX55" fmla="*/ 1028034 w 1032516"/>
              <a:gd name="connsiteY55" fmla="*/ 629737 h 1060076"/>
              <a:gd name="connsiteX56" fmla="*/ 1029528 w 1032516"/>
              <a:gd name="connsiteY56" fmla="*/ 613301 h 1060076"/>
              <a:gd name="connsiteX57" fmla="*/ 1031022 w 1032516"/>
              <a:gd name="connsiteY57" fmla="*/ 598358 h 1060076"/>
              <a:gd name="connsiteX58" fmla="*/ 1032517 w 1032516"/>
              <a:gd name="connsiteY58" fmla="*/ 553531 h 1060076"/>
              <a:gd name="connsiteX59" fmla="*/ 1029528 w 1032516"/>
              <a:gd name="connsiteY59" fmla="*/ 507210 h 1060076"/>
              <a:gd name="connsiteX60" fmla="*/ 1025046 w 1032516"/>
              <a:gd name="connsiteY60" fmla="*/ 462383 h 1060076"/>
              <a:gd name="connsiteX61" fmla="*/ 1019069 w 1032516"/>
              <a:gd name="connsiteY61" fmla="*/ 417556 h 1060076"/>
              <a:gd name="connsiteX62" fmla="*/ 1011597 w 1032516"/>
              <a:gd name="connsiteY62" fmla="*/ 377211 h 1060076"/>
              <a:gd name="connsiteX63" fmla="*/ 1011597 w 1032516"/>
              <a:gd name="connsiteY63" fmla="*/ 374223 h 1060076"/>
              <a:gd name="connsiteX64" fmla="*/ 999644 w 1032516"/>
              <a:gd name="connsiteY64" fmla="*/ 332384 h 1060076"/>
              <a:gd name="connsiteX65" fmla="*/ 995161 w 1032516"/>
              <a:gd name="connsiteY65" fmla="*/ 317442 h 1060076"/>
              <a:gd name="connsiteX66" fmla="*/ 990678 w 1032516"/>
              <a:gd name="connsiteY66" fmla="*/ 305488 h 1060076"/>
              <a:gd name="connsiteX67" fmla="*/ 987690 w 1032516"/>
              <a:gd name="connsiteY67" fmla="*/ 299511 h 1060076"/>
              <a:gd name="connsiteX68" fmla="*/ 977230 w 1032516"/>
              <a:gd name="connsiteY68" fmla="*/ 268132 h 1060076"/>
              <a:gd name="connsiteX69" fmla="*/ 941368 w 1032516"/>
              <a:gd name="connsiteY69" fmla="*/ 202386 h 1060076"/>
              <a:gd name="connsiteX70" fmla="*/ 902518 w 1032516"/>
              <a:gd name="connsiteY70" fmla="*/ 154570 h 1060076"/>
              <a:gd name="connsiteX71" fmla="*/ 836772 w 1032516"/>
              <a:gd name="connsiteY71" fmla="*/ 99284 h 1060076"/>
              <a:gd name="connsiteX72" fmla="*/ 803899 w 1032516"/>
              <a:gd name="connsiteY72" fmla="*/ 78364 h 1060076"/>
              <a:gd name="connsiteX73" fmla="*/ 762060 w 1032516"/>
              <a:gd name="connsiteY73" fmla="*/ 54457 h 1060076"/>
              <a:gd name="connsiteX74" fmla="*/ 723210 w 1032516"/>
              <a:gd name="connsiteY74" fmla="*/ 33537 h 1060076"/>
              <a:gd name="connsiteX75" fmla="*/ 705279 w 1032516"/>
              <a:gd name="connsiteY75" fmla="*/ 26066 h 1060076"/>
              <a:gd name="connsiteX76" fmla="*/ 648498 w 1032516"/>
              <a:gd name="connsiteY76" fmla="*/ 6641 h 1060076"/>
              <a:gd name="connsiteX77" fmla="*/ 603671 w 1032516"/>
              <a:gd name="connsiteY77" fmla="*/ 2158 h 106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1032516" h="1060076">
                <a:moveTo>
                  <a:pt x="603671" y="2158"/>
                </a:moveTo>
                <a:cubicBezTo>
                  <a:pt x="594706" y="664"/>
                  <a:pt x="587235" y="664"/>
                  <a:pt x="579763" y="664"/>
                </a:cubicBezTo>
                <a:cubicBezTo>
                  <a:pt x="543902" y="-830"/>
                  <a:pt x="506546" y="664"/>
                  <a:pt x="458730" y="664"/>
                </a:cubicBezTo>
                <a:cubicBezTo>
                  <a:pt x="439305" y="2158"/>
                  <a:pt x="418386" y="5147"/>
                  <a:pt x="395972" y="9629"/>
                </a:cubicBezTo>
                <a:cubicBezTo>
                  <a:pt x="370570" y="15606"/>
                  <a:pt x="349651" y="23078"/>
                  <a:pt x="330226" y="32043"/>
                </a:cubicBezTo>
                <a:cubicBezTo>
                  <a:pt x="325743" y="33537"/>
                  <a:pt x="321261" y="35032"/>
                  <a:pt x="316778" y="38020"/>
                </a:cubicBezTo>
                <a:cubicBezTo>
                  <a:pt x="304824" y="43997"/>
                  <a:pt x="291376" y="49974"/>
                  <a:pt x="279422" y="57445"/>
                </a:cubicBezTo>
                <a:lnTo>
                  <a:pt x="271951" y="61928"/>
                </a:lnTo>
                <a:cubicBezTo>
                  <a:pt x="259997" y="69399"/>
                  <a:pt x="248043" y="73882"/>
                  <a:pt x="239078" y="81353"/>
                </a:cubicBezTo>
                <a:cubicBezTo>
                  <a:pt x="237583" y="81353"/>
                  <a:pt x="237583" y="81353"/>
                  <a:pt x="236089" y="82847"/>
                </a:cubicBezTo>
                <a:cubicBezTo>
                  <a:pt x="222641" y="90318"/>
                  <a:pt x="210687" y="97789"/>
                  <a:pt x="200228" y="103766"/>
                </a:cubicBezTo>
                <a:cubicBezTo>
                  <a:pt x="195745" y="106755"/>
                  <a:pt x="191262" y="111237"/>
                  <a:pt x="186779" y="112732"/>
                </a:cubicBezTo>
                <a:lnTo>
                  <a:pt x="182297" y="115720"/>
                </a:lnTo>
                <a:cubicBezTo>
                  <a:pt x="167354" y="127674"/>
                  <a:pt x="152412" y="141122"/>
                  <a:pt x="140458" y="154570"/>
                </a:cubicBezTo>
                <a:lnTo>
                  <a:pt x="137470" y="157559"/>
                </a:lnTo>
                <a:cubicBezTo>
                  <a:pt x="116550" y="178478"/>
                  <a:pt x="95631" y="202386"/>
                  <a:pt x="77700" y="224799"/>
                </a:cubicBezTo>
                <a:cubicBezTo>
                  <a:pt x="68735" y="236753"/>
                  <a:pt x="59769" y="248707"/>
                  <a:pt x="52298" y="259167"/>
                </a:cubicBezTo>
                <a:cubicBezTo>
                  <a:pt x="40344" y="277098"/>
                  <a:pt x="28390" y="296523"/>
                  <a:pt x="19425" y="315948"/>
                </a:cubicBezTo>
                <a:cubicBezTo>
                  <a:pt x="13448" y="332384"/>
                  <a:pt x="7471" y="348821"/>
                  <a:pt x="4483" y="368246"/>
                </a:cubicBezTo>
                <a:cubicBezTo>
                  <a:pt x="2988" y="374223"/>
                  <a:pt x="1494" y="381694"/>
                  <a:pt x="1494" y="387671"/>
                </a:cubicBezTo>
                <a:cubicBezTo>
                  <a:pt x="0" y="411579"/>
                  <a:pt x="0" y="432498"/>
                  <a:pt x="0" y="451923"/>
                </a:cubicBezTo>
                <a:cubicBezTo>
                  <a:pt x="0" y="480314"/>
                  <a:pt x="5977" y="508704"/>
                  <a:pt x="8965" y="532612"/>
                </a:cubicBezTo>
                <a:cubicBezTo>
                  <a:pt x="13448" y="553531"/>
                  <a:pt x="16437" y="577439"/>
                  <a:pt x="22414" y="601347"/>
                </a:cubicBezTo>
                <a:cubicBezTo>
                  <a:pt x="25402" y="613301"/>
                  <a:pt x="28390" y="625255"/>
                  <a:pt x="31379" y="635714"/>
                </a:cubicBezTo>
                <a:cubicBezTo>
                  <a:pt x="40344" y="662610"/>
                  <a:pt x="49310" y="689507"/>
                  <a:pt x="62758" y="719391"/>
                </a:cubicBezTo>
                <a:cubicBezTo>
                  <a:pt x="71723" y="741805"/>
                  <a:pt x="83677" y="762724"/>
                  <a:pt x="94137" y="782149"/>
                </a:cubicBezTo>
                <a:cubicBezTo>
                  <a:pt x="97125" y="786632"/>
                  <a:pt x="98620" y="791115"/>
                  <a:pt x="101608" y="795597"/>
                </a:cubicBezTo>
                <a:cubicBezTo>
                  <a:pt x="119539" y="826976"/>
                  <a:pt x="137470" y="853873"/>
                  <a:pt x="153906" y="879275"/>
                </a:cubicBezTo>
                <a:lnTo>
                  <a:pt x="155400" y="880769"/>
                </a:lnTo>
                <a:cubicBezTo>
                  <a:pt x="159883" y="888240"/>
                  <a:pt x="167354" y="897205"/>
                  <a:pt x="173331" y="904676"/>
                </a:cubicBezTo>
                <a:cubicBezTo>
                  <a:pt x="174826" y="907665"/>
                  <a:pt x="177814" y="910653"/>
                  <a:pt x="180802" y="913642"/>
                </a:cubicBezTo>
                <a:cubicBezTo>
                  <a:pt x="197239" y="933067"/>
                  <a:pt x="213676" y="949504"/>
                  <a:pt x="233101" y="965940"/>
                </a:cubicBezTo>
                <a:cubicBezTo>
                  <a:pt x="245055" y="976400"/>
                  <a:pt x="259997" y="985365"/>
                  <a:pt x="277928" y="995825"/>
                </a:cubicBezTo>
                <a:cubicBezTo>
                  <a:pt x="303330" y="1009273"/>
                  <a:pt x="325743" y="1018238"/>
                  <a:pt x="348157" y="1025710"/>
                </a:cubicBezTo>
                <a:cubicBezTo>
                  <a:pt x="349651" y="1025710"/>
                  <a:pt x="351145" y="1025710"/>
                  <a:pt x="352640" y="1027204"/>
                </a:cubicBezTo>
                <a:cubicBezTo>
                  <a:pt x="370570" y="1036169"/>
                  <a:pt x="385513" y="1042146"/>
                  <a:pt x="401949" y="1045135"/>
                </a:cubicBezTo>
                <a:cubicBezTo>
                  <a:pt x="425857" y="1052606"/>
                  <a:pt x="452753" y="1055594"/>
                  <a:pt x="481144" y="1058583"/>
                </a:cubicBezTo>
                <a:cubicBezTo>
                  <a:pt x="491603" y="1060077"/>
                  <a:pt x="502063" y="1060077"/>
                  <a:pt x="512523" y="1060077"/>
                </a:cubicBezTo>
                <a:cubicBezTo>
                  <a:pt x="515511" y="1060077"/>
                  <a:pt x="518500" y="1060077"/>
                  <a:pt x="521488" y="1060077"/>
                </a:cubicBezTo>
                <a:cubicBezTo>
                  <a:pt x="530454" y="1060077"/>
                  <a:pt x="540913" y="1060077"/>
                  <a:pt x="549879" y="1060077"/>
                </a:cubicBezTo>
                <a:cubicBezTo>
                  <a:pt x="551373" y="1060077"/>
                  <a:pt x="552867" y="1060077"/>
                  <a:pt x="554361" y="1060077"/>
                </a:cubicBezTo>
                <a:cubicBezTo>
                  <a:pt x="564821" y="1060077"/>
                  <a:pt x="575281" y="1058583"/>
                  <a:pt x="585740" y="1058583"/>
                </a:cubicBezTo>
                <a:cubicBezTo>
                  <a:pt x="587235" y="1058583"/>
                  <a:pt x="590223" y="1058583"/>
                  <a:pt x="593212" y="1058583"/>
                </a:cubicBezTo>
                <a:cubicBezTo>
                  <a:pt x="603671" y="1057089"/>
                  <a:pt x="614131" y="1057089"/>
                  <a:pt x="624590" y="1055594"/>
                </a:cubicBezTo>
                <a:cubicBezTo>
                  <a:pt x="644015" y="1052606"/>
                  <a:pt x="661946" y="1049617"/>
                  <a:pt x="684360" y="1043640"/>
                </a:cubicBezTo>
                <a:cubicBezTo>
                  <a:pt x="703785" y="1037663"/>
                  <a:pt x="729187" y="1030192"/>
                  <a:pt x="753095" y="1019733"/>
                </a:cubicBezTo>
                <a:cubicBezTo>
                  <a:pt x="756083" y="1018238"/>
                  <a:pt x="757577" y="1018238"/>
                  <a:pt x="760566" y="1016744"/>
                </a:cubicBezTo>
                <a:cubicBezTo>
                  <a:pt x="787462" y="1004790"/>
                  <a:pt x="812864" y="989848"/>
                  <a:pt x="830795" y="977894"/>
                </a:cubicBezTo>
                <a:cubicBezTo>
                  <a:pt x="848726" y="965940"/>
                  <a:pt x="866657" y="952492"/>
                  <a:pt x="884587" y="934561"/>
                </a:cubicBezTo>
                <a:cubicBezTo>
                  <a:pt x="905507" y="915136"/>
                  <a:pt x="921943" y="897205"/>
                  <a:pt x="935391" y="880769"/>
                </a:cubicBezTo>
                <a:cubicBezTo>
                  <a:pt x="950334" y="861344"/>
                  <a:pt x="965276" y="840424"/>
                  <a:pt x="977230" y="816517"/>
                </a:cubicBezTo>
                <a:cubicBezTo>
                  <a:pt x="989184" y="794103"/>
                  <a:pt x="996655" y="768701"/>
                  <a:pt x="1004126" y="746288"/>
                </a:cubicBezTo>
                <a:cubicBezTo>
                  <a:pt x="1008609" y="732839"/>
                  <a:pt x="1011597" y="720886"/>
                  <a:pt x="1014586" y="704449"/>
                </a:cubicBezTo>
                <a:cubicBezTo>
                  <a:pt x="1017574" y="691001"/>
                  <a:pt x="1020563" y="673070"/>
                  <a:pt x="1023551" y="655139"/>
                </a:cubicBezTo>
                <a:cubicBezTo>
                  <a:pt x="1025046" y="650656"/>
                  <a:pt x="1025046" y="644680"/>
                  <a:pt x="1026540" y="637208"/>
                </a:cubicBezTo>
                <a:cubicBezTo>
                  <a:pt x="1026540" y="635714"/>
                  <a:pt x="1028034" y="632726"/>
                  <a:pt x="1028034" y="629737"/>
                </a:cubicBezTo>
                <a:cubicBezTo>
                  <a:pt x="1029528" y="625255"/>
                  <a:pt x="1029528" y="619278"/>
                  <a:pt x="1029528" y="613301"/>
                </a:cubicBezTo>
                <a:cubicBezTo>
                  <a:pt x="1029528" y="608818"/>
                  <a:pt x="1029528" y="604335"/>
                  <a:pt x="1031022" y="598358"/>
                </a:cubicBezTo>
                <a:cubicBezTo>
                  <a:pt x="1032517" y="583416"/>
                  <a:pt x="1032517" y="568474"/>
                  <a:pt x="1032517" y="553531"/>
                </a:cubicBezTo>
                <a:cubicBezTo>
                  <a:pt x="1032517" y="538589"/>
                  <a:pt x="1031022" y="523646"/>
                  <a:pt x="1029528" y="507210"/>
                </a:cubicBezTo>
                <a:cubicBezTo>
                  <a:pt x="1028034" y="492268"/>
                  <a:pt x="1026540" y="478819"/>
                  <a:pt x="1025046" y="462383"/>
                </a:cubicBezTo>
                <a:cubicBezTo>
                  <a:pt x="1023551" y="448935"/>
                  <a:pt x="1022057" y="433992"/>
                  <a:pt x="1019069" y="417556"/>
                </a:cubicBezTo>
                <a:cubicBezTo>
                  <a:pt x="1016080" y="404108"/>
                  <a:pt x="1013092" y="390660"/>
                  <a:pt x="1011597" y="377211"/>
                </a:cubicBezTo>
                <a:lnTo>
                  <a:pt x="1011597" y="374223"/>
                </a:lnTo>
                <a:cubicBezTo>
                  <a:pt x="1008609" y="360775"/>
                  <a:pt x="1004126" y="345832"/>
                  <a:pt x="999644" y="332384"/>
                </a:cubicBezTo>
                <a:cubicBezTo>
                  <a:pt x="998149" y="327902"/>
                  <a:pt x="996655" y="321925"/>
                  <a:pt x="995161" y="317442"/>
                </a:cubicBezTo>
                <a:cubicBezTo>
                  <a:pt x="993667" y="312959"/>
                  <a:pt x="992172" y="308477"/>
                  <a:pt x="990678" y="305488"/>
                </a:cubicBezTo>
                <a:cubicBezTo>
                  <a:pt x="989184" y="302500"/>
                  <a:pt x="989184" y="301005"/>
                  <a:pt x="987690" y="299511"/>
                </a:cubicBezTo>
                <a:cubicBezTo>
                  <a:pt x="984701" y="289052"/>
                  <a:pt x="980218" y="280086"/>
                  <a:pt x="977230" y="268132"/>
                </a:cubicBezTo>
                <a:cubicBezTo>
                  <a:pt x="966770" y="244224"/>
                  <a:pt x="954816" y="221811"/>
                  <a:pt x="941368" y="202386"/>
                </a:cubicBezTo>
                <a:cubicBezTo>
                  <a:pt x="930909" y="185949"/>
                  <a:pt x="918955" y="171007"/>
                  <a:pt x="902518" y="154570"/>
                </a:cubicBezTo>
                <a:cubicBezTo>
                  <a:pt x="883093" y="133651"/>
                  <a:pt x="859185" y="115720"/>
                  <a:pt x="836772" y="99284"/>
                </a:cubicBezTo>
                <a:cubicBezTo>
                  <a:pt x="826312" y="91812"/>
                  <a:pt x="814358" y="84341"/>
                  <a:pt x="803899" y="78364"/>
                </a:cubicBezTo>
                <a:cubicBezTo>
                  <a:pt x="788956" y="69399"/>
                  <a:pt x="775508" y="61928"/>
                  <a:pt x="762060" y="54457"/>
                </a:cubicBezTo>
                <a:cubicBezTo>
                  <a:pt x="747118" y="46985"/>
                  <a:pt x="735164" y="41008"/>
                  <a:pt x="723210" y="33537"/>
                </a:cubicBezTo>
                <a:cubicBezTo>
                  <a:pt x="717233" y="30549"/>
                  <a:pt x="711256" y="27560"/>
                  <a:pt x="705279" y="26066"/>
                </a:cubicBezTo>
                <a:cubicBezTo>
                  <a:pt x="687348" y="18595"/>
                  <a:pt x="669417" y="12618"/>
                  <a:pt x="648498" y="6641"/>
                </a:cubicBezTo>
                <a:cubicBezTo>
                  <a:pt x="636544" y="8135"/>
                  <a:pt x="620108" y="5147"/>
                  <a:pt x="603671" y="2158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CE923C5-5437-416D-B5CF-01825E3E646D}"/>
              </a:ext>
            </a:extLst>
          </p:cNvPr>
          <p:cNvSpPr/>
          <p:nvPr userDrawn="1"/>
        </p:nvSpPr>
        <p:spPr>
          <a:xfrm>
            <a:off x="1612097" y="2011329"/>
            <a:ext cx="1061311" cy="1001193"/>
          </a:xfrm>
          <a:custGeom>
            <a:avLst/>
            <a:gdLst>
              <a:gd name="connsiteX0" fmla="*/ 835278 w 877116"/>
              <a:gd name="connsiteY0" fmla="*/ 593211 h 827432"/>
              <a:gd name="connsiteX1" fmla="*/ 842749 w 877116"/>
              <a:gd name="connsiteY1" fmla="*/ 575281 h 827432"/>
              <a:gd name="connsiteX2" fmla="*/ 869645 w 877116"/>
              <a:gd name="connsiteY2" fmla="*/ 481144 h 827432"/>
              <a:gd name="connsiteX3" fmla="*/ 877116 w 877116"/>
              <a:gd name="connsiteY3" fmla="*/ 430340 h 827432"/>
              <a:gd name="connsiteX4" fmla="*/ 875622 w 877116"/>
              <a:gd name="connsiteY4" fmla="*/ 373559 h 827432"/>
              <a:gd name="connsiteX5" fmla="*/ 874128 w 877116"/>
              <a:gd name="connsiteY5" fmla="*/ 361605 h 827432"/>
              <a:gd name="connsiteX6" fmla="*/ 868151 w 877116"/>
              <a:gd name="connsiteY6" fmla="*/ 328732 h 827432"/>
              <a:gd name="connsiteX7" fmla="*/ 863668 w 877116"/>
              <a:gd name="connsiteY7" fmla="*/ 319766 h 827432"/>
              <a:gd name="connsiteX8" fmla="*/ 856197 w 877116"/>
              <a:gd name="connsiteY8" fmla="*/ 289882 h 827432"/>
              <a:gd name="connsiteX9" fmla="*/ 856197 w 877116"/>
              <a:gd name="connsiteY9" fmla="*/ 286893 h 827432"/>
              <a:gd name="connsiteX10" fmla="*/ 848726 w 877116"/>
              <a:gd name="connsiteY10" fmla="*/ 254020 h 827432"/>
              <a:gd name="connsiteX11" fmla="*/ 844243 w 877116"/>
              <a:gd name="connsiteY11" fmla="*/ 242066 h 827432"/>
              <a:gd name="connsiteX12" fmla="*/ 842749 w 877116"/>
              <a:gd name="connsiteY12" fmla="*/ 237583 h 827432"/>
              <a:gd name="connsiteX13" fmla="*/ 821829 w 877116"/>
              <a:gd name="connsiteY13" fmla="*/ 195745 h 827432"/>
              <a:gd name="connsiteX14" fmla="*/ 820335 w 877116"/>
              <a:gd name="connsiteY14" fmla="*/ 192756 h 827432"/>
              <a:gd name="connsiteX15" fmla="*/ 781485 w 877116"/>
              <a:gd name="connsiteY15" fmla="*/ 129998 h 827432"/>
              <a:gd name="connsiteX16" fmla="*/ 759072 w 877116"/>
              <a:gd name="connsiteY16" fmla="*/ 101608 h 827432"/>
              <a:gd name="connsiteX17" fmla="*/ 721716 w 877116"/>
              <a:gd name="connsiteY17" fmla="*/ 62758 h 827432"/>
              <a:gd name="connsiteX18" fmla="*/ 684360 w 877116"/>
              <a:gd name="connsiteY18" fmla="*/ 38850 h 827432"/>
              <a:gd name="connsiteX19" fmla="*/ 669417 w 877116"/>
              <a:gd name="connsiteY19" fmla="*/ 31379 h 827432"/>
              <a:gd name="connsiteX20" fmla="*/ 621602 w 877116"/>
              <a:gd name="connsiteY20" fmla="*/ 16437 h 827432"/>
              <a:gd name="connsiteX21" fmla="*/ 555856 w 877116"/>
              <a:gd name="connsiteY21" fmla="*/ 5977 h 827432"/>
              <a:gd name="connsiteX22" fmla="*/ 499075 w 877116"/>
              <a:gd name="connsiteY22" fmla="*/ 1494 h 827432"/>
              <a:gd name="connsiteX23" fmla="*/ 470684 w 877116"/>
              <a:gd name="connsiteY23" fmla="*/ 0 h 827432"/>
              <a:gd name="connsiteX24" fmla="*/ 397467 w 877116"/>
              <a:gd name="connsiteY24" fmla="*/ 4483 h 827432"/>
              <a:gd name="connsiteX25" fmla="*/ 340686 w 877116"/>
              <a:gd name="connsiteY25" fmla="*/ 14942 h 827432"/>
              <a:gd name="connsiteX26" fmla="*/ 328732 w 877116"/>
              <a:gd name="connsiteY26" fmla="*/ 17931 h 827432"/>
              <a:gd name="connsiteX27" fmla="*/ 251032 w 877116"/>
              <a:gd name="connsiteY27" fmla="*/ 40344 h 827432"/>
              <a:gd name="connsiteX28" fmla="*/ 251032 w 877116"/>
              <a:gd name="connsiteY28" fmla="*/ 41839 h 827432"/>
              <a:gd name="connsiteX29" fmla="*/ 227124 w 877116"/>
              <a:gd name="connsiteY29" fmla="*/ 50804 h 827432"/>
              <a:gd name="connsiteX30" fmla="*/ 218158 w 877116"/>
              <a:gd name="connsiteY30" fmla="*/ 55287 h 827432"/>
              <a:gd name="connsiteX31" fmla="*/ 165860 w 877116"/>
              <a:gd name="connsiteY31" fmla="*/ 83677 h 827432"/>
              <a:gd name="connsiteX32" fmla="*/ 131493 w 877116"/>
              <a:gd name="connsiteY32" fmla="*/ 112068 h 827432"/>
              <a:gd name="connsiteX33" fmla="*/ 92643 w 877116"/>
              <a:gd name="connsiteY33" fmla="*/ 159883 h 827432"/>
              <a:gd name="connsiteX34" fmla="*/ 89654 w 877116"/>
              <a:gd name="connsiteY34" fmla="*/ 162872 h 827432"/>
              <a:gd name="connsiteX35" fmla="*/ 64252 w 877116"/>
              <a:gd name="connsiteY35" fmla="*/ 197239 h 827432"/>
              <a:gd name="connsiteX36" fmla="*/ 34367 w 877116"/>
              <a:gd name="connsiteY36" fmla="*/ 255514 h 827432"/>
              <a:gd name="connsiteX37" fmla="*/ 25402 w 877116"/>
              <a:gd name="connsiteY37" fmla="*/ 279422 h 827432"/>
              <a:gd name="connsiteX38" fmla="*/ 23908 w 877116"/>
              <a:gd name="connsiteY38" fmla="*/ 285399 h 827432"/>
              <a:gd name="connsiteX39" fmla="*/ 16437 w 877116"/>
              <a:gd name="connsiteY39" fmla="*/ 307813 h 827432"/>
              <a:gd name="connsiteX40" fmla="*/ 14942 w 877116"/>
              <a:gd name="connsiteY40" fmla="*/ 310801 h 827432"/>
              <a:gd name="connsiteX41" fmla="*/ 8965 w 877116"/>
              <a:gd name="connsiteY41" fmla="*/ 334709 h 827432"/>
              <a:gd name="connsiteX42" fmla="*/ 7471 w 877116"/>
              <a:gd name="connsiteY42" fmla="*/ 340686 h 827432"/>
              <a:gd name="connsiteX43" fmla="*/ 2988 w 877116"/>
              <a:gd name="connsiteY43" fmla="*/ 366088 h 827432"/>
              <a:gd name="connsiteX44" fmla="*/ 0 w 877116"/>
              <a:gd name="connsiteY44" fmla="*/ 415397 h 827432"/>
              <a:gd name="connsiteX45" fmla="*/ 2988 w 877116"/>
              <a:gd name="connsiteY45" fmla="*/ 475167 h 827432"/>
              <a:gd name="connsiteX46" fmla="*/ 4483 w 877116"/>
              <a:gd name="connsiteY46" fmla="*/ 482638 h 827432"/>
              <a:gd name="connsiteX47" fmla="*/ 19425 w 877116"/>
              <a:gd name="connsiteY47" fmla="*/ 546890 h 827432"/>
              <a:gd name="connsiteX48" fmla="*/ 40344 w 877116"/>
              <a:gd name="connsiteY48" fmla="*/ 599188 h 827432"/>
              <a:gd name="connsiteX49" fmla="*/ 70229 w 877116"/>
              <a:gd name="connsiteY49" fmla="*/ 651487 h 827432"/>
              <a:gd name="connsiteX50" fmla="*/ 110573 w 877116"/>
              <a:gd name="connsiteY50" fmla="*/ 699302 h 827432"/>
              <a:gd name="connsiteX51" fmla="*/ 159883 w 877116"/>
              <a:gd name="connsiteY51" fmla="*/ 736658 h 827432"/>
              <a:gd name="connsiteX52" fmla="*/ 189768 w 877116"/>
              <a:gd name="connsiteY52" fmla="*/ 754589 h 827432"/>
              <a:gd name="connsiteX53" fmla="*/ 225630 w 877116"/>
              <a:gd name="connsiteY53" fmla="*/ 774014 h 827432"/>
              <a:gd name="connsiteX54" fmla="*/ 239078 w 877116"/>
              <a:gd name="connsiteY54" fmla="*/ 779991 h 827432"/>
              <a:gd name="connsiteX55" fmla="*/ 245055 w 877116"/>
              <a:gd name="connsiteY55" fmla="*/ 782979 h 827432"/>
              <a:gd name="connsiteX56" fmla="*/ 257009 w 877116"/>
              <a:gd name="connsiteY56" fmla="*/ 787462 h 827432"/>
              <a:gd name="connsiteX57" fmla="*/ 268962 w 877116"/>
              <a:gd name="connsiteY57" fmla="*/ 791945 h 827432"/>
              <a:gd name="connsiteX58" fmla="*/ 303330 w 877116"/>
              <a:gd name="connsiteY58" fmla="*/ 803899 h 827432"/>
              <a:gd name="connsiteX59" fmla="*/ 340686 w 877116"/>
              <a:gd name="connsiteY59" fmla="*/ 812864 h 827432"/>
              <a:gd name="connsiteX60" fmla="*/ 376547 w 877116"/>
              <a:gd name="connsiteY60" fmla="*/ 818841 h 827432"/>
              <a:gd name="connsiteX61" fmla="*/ 412409 w 877116"/>
              <a:gd name="connsiteY61" fmla="*/ 823324 h 827432"/>
              <a:gd name="connsiteX62" fmla="*/ 445282 w 877116"/>
              <a:gd name="connsiteY62" fmla="*/ 826312 h 827432"/>
              <a:gd name="connsiteX63" fmla="*/ 448271 w 877116"/>
              <a:gd name="connsiteY63" fmla="*/ 826312 h 827432"/>
              <a:gd name="connsiteX64" fmla="*/ 484132 w 877116"/>
              <a:gd name="connsiteY64" fmla="*/ 826312 h 827432"/>
              <a:gd name="connsiteX65" fmla="*/ 497580 w 877116"/>
              <a:gd name="connsiteY65" fmla="*/ 826312 h 827432"/>
              <a:gd name="connsiteX66" fmla="*/ 508040 w 877116"/>
              <a:gd name="connsiteY66" fmla="*/ 826312 h 827432"/>
              <a:gd name="connsiteX67" fmla="*/ 512523 w 877116"/>
              <a:gd name="connsiteY67" fmla="*/ 826312 h 827432"/>
              <a:gd name="connsiteX68" fmla="*/ 539419 w 877116"/>
              <a:gd name="connsiteY68" fmla="*/ 824818 h 827432"/>
              <a:gd name="connsiteX69" fmla="*/ 599188 w 877116"/>
              <a:gd name="connsiteY69" fmla="*/ 811370 h 827432"/>
              <a:gd name="connsiteX70" fmla="*/ 645510 w 877116"/>
              <a:gd name="connsiteY70" fmla="*/ 791945 h 827432"/>
              <a:gd name="connsiteX71" fmla="*/ 703785 w 877116"/>
              <a:gd name="connsiteY71" fmla="*/ 753095 h 827432"/>
              <a:gd name="connsiteX72" fmla="*/ 727693 w 877116"/>
              <a:gd name="connsiteY72" fmla="*/ 732175 h 827432"/>
              <a:gd name="connsiteX73" fmla="*/ 756083 w 877116"/>
              <a:gd name="connsiteY73" fmla="*/ 705279 h 827432"/>
              <a:gd name="connsiteX74" fmla="*/ 781485 w 877116"/>
              <a:gd name="connsiteY74" fmla="*/ 679877 h 827432"/>
              <a:gd name="connsiteX75" fmla="*/ 791945 w 877116"/>
              <a:gd name="connsiteY75" fmla="*/ 667923 h 827432"/>
              <a:gd name="connsiteX76" fmla="*/ 820335 w 877116"/>
              <a:gd name="connsiteY76" fmla="*/ 629073 h 827432"/>
              <a:gd name="connsiteX77" fmla="*/ 835278 w 877116"/>
              <a:gd name="connsiteY77" fmla="*/ 593211 h 8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877116" h="827432">
                <a:moveTo>
                  <a:pt x="835278" y="593211"/>
                </a:moveTo>
                <a:cubicBezTo>
                  <a:pt x="838266" y="587235"/>
                  <a:pt x="839760" y="579763"/>
                  <a:pt x="842749" y="575281"/>
                </a:cubicBezTo>
                <a:cubicBezTo>
                  <a:pt x="851714" y="548384"/>
                  <a:pt x="859185" y="518500"/>
                  <a:pt x="869645" y="481144"/>
                </a:cubicBezTo>
                <a:cubicBezTo>
                  <a:pt x="874128" y="464707"/>
                  <a:pt x="875622" y="448271"/>
                  <a:pt x="877116" y="430340"/>
                </a:cubicBezTo>
                <a:cubicBezTo>
                  <a:pt x="877116" y="409420"/>
                  <a:pt x="877116" y="391490"/>
                  <a:pt x="875622" y="373559"/>
                </a:cubicBezTo>
                <a:cubicBezTo>
                  <a:pt x="875622" y="369076"/>
                  <a:pt x="874128" y="366088"/>
                  <a:pt x="874128" y="361605"/>
                </a:cubicBezTo>
                <a:cubicBezTo>
                  <a:pt x="872633" y="349651"/>
                  <a:pt x="869645" y="339191"/>
                  <a:pt x="868151" y="328732"/>
                </a:cubicBezTo>
                <a:lnTo>
                  <a:pt x="863668" y="319766"/>
                </a:lnTo>
                <a:cubicBezTo>
                  <a:pt x="860680" y="307813"/>
                  <a:pt x="859185" y="298847"/>
                  <a:pt x="856197" y="289882"/>
                </a:cubicBezTo>
                <a:cubicBezTo>
                  <a:pt x="856197" y="288387"/>
                  <a:pt x="856197" y="288387"/>
                  <a:pt x="856197" y="286893"/>
                </a:cubicBezTo>
                <a:cubicBezTo>
                  <a:pt x="853208" y="274939"/>
                  <a:pt x="850220" y="264480"/>
                  <a:pt x="848726" y="254020"/>
                </a:cubicBezTo>
                <a:cubicBezTo>
                  <a:pt x="847232" y="249537"/>
                  <a:pt x="845737" y="245055"/>
                  <a:pt x="844243" y="242066"/>
                </a:cubicBezTo>
                <a:lnTo>
                  <a:pt x="842749" y="237583"/>
                </a:lnTo>
                <a:cubicBezTo>
                  <a:pt x="836772" y="222641"/>
                  <a:pt x="830795" y="209193"/>
                  <a:pt x="821829" y="195745"/>
                </a:cubicBezTo>
                <a:lnTo>
                  <a:pt x="820335" y="192756"/>
                </a:lnTo>
                <a:cubicBezTo>
                  <a:pt x="808381" y="170343"/>
                  <a:pt x="794933" y="149424"/>
                  <a:pt x="781485" y="129998"/>
                </a:cubicBezTo>
                <a:cubicBezTo>
                  <a:pt x="774014" y="119539"/>
                  <a:pt x="766543" y="110573"/>
                  <a:pt x="759072" y="101608"/>
                </a:cubicBezTo>
                <a:cubicBezTo>
                  <a:pt x="748612" y="89654"/>
                  <a:pt x="736658" y="74712"/>
                  <a:pt x="721716" y="62758"/>
                </a:cubicBezTo>
                <a:cubicBezTo>
                  <a:pt x="711256" y="53792"/>
                  <a:pt x="699302" y="46321"/>
                  <a:pt x="684360" y="38850"/>
                </a:cubicBezTo>
                <a:cubicBezTo>
                  <a:pt x="679877" y="35862"/>
                  <a:pt x="673900" y="34367"/>
                  <a:pt x="669417" y="31379"/>
                </a:cubicBezTo>
                <a:cubicBezTo>
                  <a:pt x="652981" y="25402"/>
                  <a:pt x="636544" y="20919"/>
                  <a:pt x="621602" y="16437"/>
                </a:cubicBezTo>
                <a:cubicBezTo>
                  <a:pt x="599188" y="10460"/>
                  <a:pt x="576775" y="7471"/>
                  <a:pt x="555856" y="5977"/>
                </a:cubicBezTo>
                <a:cubicBezTo>
                  <a:pt x="537925" y="4483"/>
                  <a:pt x="518500" y="1494"/>
                  <a:pt x="499075" y="1494"/>
                </a:cubicBezTo>
                <a:cubicBezTo>
                  <a:pt x="490109" y="0"/>
                  <a:pt x="479650" y="0"/>
                  <a:pt x="470684" y="0"/>
                </a:cubicBezTo>
                <a:cubicBezTo>
                  <a:pt x="448271" y="0"/>
                  <a:pt x="424363" y="1494"/>
                  <a:pt x="397467" y="4483"/>
                </a:cubicBezTo>
                <a:cubicBezTo>
                  <a:pt x="379536" y="7471"/>
                  <a:pt x="360111" y="11954"/>
                  <a:pt x="340686" y="14942"/>
                </a:cubicBezTo>
                <a:cubicBezTo>
                  <a:pt x="336203" y="16437"/>
                  <a:pt x="333215" y="16437"/>
                  <a:pt x="328732" y="17931"/>
                </a:cubicBezTo>
                <a:cubicBezTo>
                  <a:pt x="300341" y="23908"/>
                  <a:pt x="274939" y="31379"/>
                  <a:pt x="251032" y="40344"/>
                </a:cubicBezTo>
                <a:lnTo>
                  <a:pt x="251032" y="41839"/>
                </a:lnTo>
                <a:cubicBezTo>
                  <a:pt x="243560" y="44827"/>
                  <a:pt x="236089" y="47816"/>
                  <a:pt x="227124" y="50804"/>
                </a:cubicBezTo>
                <a:cubicBezTo>
                  <a:pt x="224135" y="52298"/>
                  <a:pt x="221147" y="53792"/>
                  <a:pt x="218158" y="55287"/>
                </a:cubicBezTo>
                <a:cubicBezTo>
                  <a:pt x="200228" y="64252"/>
                  <a:pt x="182297" y="73218"/>
                  <a:pt x="165860" y="83677"/>
                </a:cubicBezTo>
                <a:cubicBezTo>
                  <a:pt x="155400" y="89654"/>
                  <a:pt x="143447" y="100114"/>
                  <a:pt x="131493" y="112068"/>
                </a:cubicBezTo>
                <a:cubicBezTo>
                  <a:pt x="115056" y="128504"/>
                  <a:pt x="103102" y="143447"/>
                  <a:pt x="92643" y="159883"/>
                </a:cubicBezTo>
                <a:cubicBezTo>
                  <a:pt x="92643" y="161377"/>
                  <a:pt x="91148" y="162872"/>
                  <a:pt x="89654" y="162872"/>
                </a:cubicBezTo>
                <a:cubicBezTo>
                  <a:pt x="79194" y="174826"/>
                  <a:pt x="70229" y="185285"/>
                  <a:pt x="64252" y="197239"/>
                </a:cubicBezTo>
                <a:cubicBezTo>
                  <a:pt x="53792" y="215170"/>
                  <a:pt x="44827" y="234595"/>
                  <a:pt x="34367" y="255514"/>
                </a:cubicBezTo>
                <a:cubicBezTo>
                  <a:pt x="31379" y="262985"/>
                  <a:pt x="28390" y="271951"/>
                  <a:pt x="25402" y="279422"/>
                </a:cubicBezTo>
                <a:cubicBezTo>
                  <a:pt x="25402" y="282410"/>
                  <a:pt x="23908" y="283905"/>
                  <a:pt x="23908" y="285399"/>
                </a:cubicBezTo>
                <a:cubicBezTo>
                  <a:pt x="22414" y="292870"/>
                  <a:pt x="19425" y="300341"/>
                  <a:pt x="16437" y="307813"/>
                </a:cubicBezTo>
                <a:cubicBezTo>
                  <a:pt x="16437" y="309307"/>
                  <a:pt x="16437" y="310801"/>
                  <a:pt x="14942" y="310801"/>
                </a:cubicBezTo>
                <a:cubicBezTo>
                  <a:pt x="13448" y="318272"/>
                  <a:pt x="10460" y="327238"/>
                  <a:pt x="8965" y="334709"/>
                </a:cubicBezTo>
                <a:cubicBezTo>
                  <a:pt x="8965" y="336203"/>
                  <a:pt x="7471" y="339191"/>
                  <a:pt x="7471" y="340686"/>
                </a:cubicBezTo>
                <a:cubicBezTo>
                  <a:pt x="5977" y="349651"/>
                  <a:pt x="4483" y="357122"/>
                  <a:pt x="2988" y="366088"/>
                </a:cubicBezTo>
                <a:cubicBezTo>
                  <a:pt x="0" y="382524"/>
                  <a:pt x="0" y="397467"/>
                  <a:pt x="0" y="415397"/>
                </a:cubicBezTo>
                <a:cubicBezTo>
                  <a:pt x="0" y="431834"/>
                  <a:pt x="0" y="452753"/>
                  <a:pt x="2988" y="475167"/>
                </a:cubicBezTo>
                <a:cubicBezTo>
                  <a:pt x="2988" y="478155"/>
                  <a:pt x="2988" y="479650"/>
                  <a:pt x="4483" y="482638"/>
                </a:cubicBezTo>
                <a:cubicBezTo>
                  <a:pt x="7471" y="506546"/>
                  <a:pt x="13448" y="528959"/>
                  <a:pt x="19425" y="546890"/>
                </a:cubicBezTo>
                <a:cubicBezTo>
                  <a:pt x="25402" y="564821"/>
                  <a:pt x="31379" y="581258"/>
                  <a:pt x="40344" y="599188"/>
                </a:cubicBezTo>
                <a:cubicBezTo>
                  <a:pt x="50804" y="620108"/>
                  <a:pt x="59769" y="636544"/>
                  <a:pt x="70229" y="651487"/>
                </a:cubicBezTo>
                <a:cubicBezTo>
                  <a:pt x="82183" y="667923"/>
                  <a:pt x="95631" y="684360"/>
                  <a:pt x="110573" y="699302"/>
                </a:cubicBezTo>
                <a:cubicBezTo>
                  <a:pt x="125516" y="714245"/>
                  <a:pt x="143447" y="726198"/>
                  <a:pt x="159883" y="736658"/>
                </a:cubicBezTo>
                <a:cubicBezTo>
                  <a:pt x="168849" y="742635"/>
                  <a:pt x="177814" y="748612"/>
                  <a:pt x="189768" y="754589"/>
                </a:cubicBezTo>
                <a:cubicBezTo>
                  <a:pt x="200228" y="759072"/>
                  <a:pt x="212181" y="766543"/>
                  <a:pt x="225630" y="774014"/>
                </a:cubicBezTo>
                <a:cubicBezTo>
                  <a:pt x="230112" y="775508"/>
                  <a:pt x="234595" y="777002"/>
                  <a:pt x="239078" y="779991"/>
                </a:cubicBezTo>
                <a:cubicBezTo>
                  <a:pt x="240572" y="779991"/>
                  <a:pt x="243560" y="781485"/>
                  <a:pt x="245055" y="782979"/>
                </a:cubicBezTo>
                <a:cubicBezTo>
                  <a:pt x="249537" y="784474"/>
                  <a:pt x="252526" y="787462"/>
                  <a:pt x="257009" y="787462"/>
                </a:cubicBezTo>
                <a:cubicBezTo>
                  <a:pt x="259997" y="788956"/>
                  <a:pt x="264480" y="788956"/>
                  <a:pt x="268962" y="791945"/>
                </a:cubicBezTo>
                <a:cubicBezTo>
                  <a:pt x="280916" y="796427"/>
                  <a:pt x="291376" y="799416"/>
                  <a:pt x="303330" y="803899"/>
                </a:cubicBezTo>
                <a:cubicBezTo>
                  <a:pt x="315284" y="806887"/>
                  <a:pt x="327238" y="809876"/>
                  <a:pt x="340686" y="812864"/>
                </a:cubicBezTo>
                <a:cubicBezTo>
                  <a:pt x="352640" y="815853"/>
                  <a:pt x="364593" y="817347"/>
                  <a:pt x="376547" y="818841"/>
                </a:cubicBezTo>
                <a:cubicBezTo>
                  <a:pt x="387007" y="820335"/>
                  <a:pt x="398961" y="821829"/>
                  <a:pt x="412409" y="823324"/>
                </a:cubicBezTo>
                <a:cubicBezTo>
                  <a:pt x="422869" y="824818"/>
                  <a:pt x="434823" y="824818"/>
                  <a:pt x="445282" y="826312"/>
                </a:cubicBezTo>
                <a:lnTo>
                  <a:pt x="448271" y="826312"/>
                </a:lnTo>
                <a:cubicBezTo>
                  <a:pt x="460225" y="827806"/>
                  <a:pt x="472178" y="827806"/>
                  <a:pt x="484132" y="826312"/>
                </a:cubicBezTo>
                <a:cubicBezTo>
                  <a:pt x="488615" y="826312"/>
                  <a:pt x="493098" y="826312"/>
                  <a:pt x="497580" y="826312"/>
                </a:cubicBezTo>
                <a:cubicBezTo>
                  <a:pt x="500569" y="826312"/>
                  <a:pt x="505052" y="826312"/>
                  <a:pt x="508040" y="826312"/>
                </a:cubicBezTo>
                <a:cubicBezTo>
                  <a:pt x="509534" y="826312"/>
                  <a:pt x="511029" y="826312"/>
                  <a:pt x="512523" y="826312"/>
                </a:cubicBezTo>
                <a:cubicBezTo>
                  <a:pt x="521488" y="826312"/>
                  <a:pt x="528959" y="824818"/>
                  <a:pt x="539419" y="824818"/>
                </a:cubicBezTo>
                <a:cubicBezTo>
                  <a:pt x="560338" y="821829"/>
                  <a:pt x="581258" y="817347"/>
                  <a:pt x="599188" y="811370"/>
                </a:cubicBezTo>
                <a:cubicBezTo>
                  <a:pt x="614131" y="806887"/>
                  <a:pt x="629073" y="800910"/>
                  <a:pt x="645510" y="791945"/>
                </a:cubicBezTo>
                <a:cubicBezTo>
                  <a:pt x="666429" y="781485"/>
                  <a:pt x="685854" y="766543"/>
                  <a:pt x="703785" y="753095"/>
                </a:cubicBezTo>
                <a:cubicBezTo>
                  <a:pt x="712750" y="747118"/>
                  <a:pt x="720222" y="739647"/>
                  <a:pt x="727693" y="732175"/>
                </a:cubicBezTo>
                <a:cubicBezTo>
                  <a:pt x="738152" y="723210"/>
                  <a:pt x="747118" y="714245"/>
                  <a:pt x="756083" y="705279"/>
                </a:cubicBezTo>
                <a:cubicBezTo>
                  <a:pt x="765049" y="696314"/>
                  <a:pt x="774014" y="687348"/>
                  <a:pt x="781485" y="679877"/>
                </a:cubicBezTo>
                <a:cubicBezTo>
                  <a:pt x="785968" y="675394"/>
                  <a:pt x="788956" y="672406"/>
                  <a:pt x="791945" y="667923"/>
                </a:cubicBezTo>
                <a:cubicBezTo>
                  <a:pt x="802404" y="655969"/>
                  <a:pt x="811370" y="642521"/>
                  <a:pt x="820335" y="629073"/>
                </a:cubicBezTo>
                <a:cubicBezTo>
                  <a:pt x="821829" y="617119"/>
                  <a:pt x="829301" y="605165"/>
                  <a:pt x="835278" y="593211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DF411E16-E3FB-4216-81D9-2C9EED32D627}"/>
              </a:ext>
            </a:extLst>
          </p:cNvPr>
          <p:cNvSpPr/>
          <p:nvPr userDrawn="1"/>
        </p:nvSpPr>
        <p:spPr>
          <a:xfrm>
            <a:off x="11985441" y="1981887"/>
            <a:ext cx="1032516" cy="1060076"/>
          </a:xfrm>
          <a:custGeom>
            <a:avLst/>
            <a:gdLst>
              <a:gd name="connsiteX0" fmla="*/ 603671 w 1032516"/>
              <a:gd name="connsiteY0" fmla="*/ 2158 h 1060076"/>
              <a:gd name="connsiteX1" fmla="*/ 579763 w 1032516"/>
              <a:gd name="connsiteY1" fmla="*/ 664 h 1060076"/>
              <a:gd name="connsiteX2" fmla="*/ 458730 w 1032516"/>
              <a:gd name="connsiteY2" fmla="*/ 664 h 1060076"/>
              <a:gd name="connsiteX3" fmla="*/ 395972 w 1032516"/>
              <a:gd name="connsiteY3" fmla="*/ 9629 h 1060076"/>
              <a:gd name="connsiteX4" fmla="*/ 330226 w 1032516"/>
              <a:gd name="connsiteY4" fmla="*/ 32043 h 1060076"/>
              <a:gd name="connsiteX5" fmla="*/ 316778 w 1032516"/>
              <a:gd name="connsiteY5" fmla="*/ 38020 h 1060076"/>
              <a:gd name="connsiteX6" fmla="*/ 279422 w 1032516"/>
              <a:gd name="connsiteY6" fmla="*/ 57445 h 1060076"/>
              <a:gd name="connsiteX7" fmla="*/ 271951 w 1032516"/>
              <a:gd name="connsiteY7" fmla="*/ 61928 h 1060076"/>
              <a:gd name="connsiteX8" fmla="*/ 239078 w 1032516"/>
              <a:gd name="connsiteY8" fmla="*/ 81353 h 1060076"/>
              <a:gd name="connsiteX9" fmla="*/ 236089 w 1032516"/>
              <a:gd name="connsiteY9" fmla="*/ 82847 h 1060076"/>
              <a:gd name="connsiteX10" fmla="*/ 200228 w 1032516"/>
              <a:gd name="connsiteY10" fmla="*/ 103766 h 1060076"/>
              <a:gd name="connsiteX11" fmla="*/ 186779 w 1032516"/>
              <a:gd name="connsiteY11" fmla="*/ 112732 h 1060076"/>
              <a:gd name="connsiteX12" fmla="*/ 182297 w 1032516"/>
              <a:gd name="connsiteY12" fmla="*/ 115720 h 1060076"/>
              <a:gd name="connsiteX13" fmla="*/ 140458 w 1032516"/>
              <a:gd name="connsiteY13" fmla="*/ 154570 h 1060076"/>
              <a:gd name="connsiteX14" fmla="*/ 137470 w 1032516"/>
              <a:gd name="connsiteY14" fmla="*/ 157559 h 1060076"/>
              <a:gd name="connsiteX15" fmla="*/ 77700 w 1032516"/>
              <a:gd name="connsiteY15" fmla="*/ 224799 h 1060076"/>
              <a:gd name="connsiteX16" fmla="*/ 52298 w 1032516"/>
              <a:gd name="connsiteY16" fmla="*/ 259167 h 1060076"/>
              <a:gd name="connsiteX17" fmla="*/ 19425 w 1032516"/>
              <a:gd name="connsiteY17" fmla="*/ 315948 h 1060076"/>
              <a:gd name="connsiteX18" fmla="*/ 4483 w 1032516"/>
              <a:gd name="connsiteY18" fmla="*/ 368246 h 1060076"/>
              <a:gd name="connsiteX19" fmla="*/ 1494 w 1032516"/>
              <a:gd name="connsiteY19" fmla="*/ 387671 h 1060076"/>
              <a:gd name="connsiteX20" fmla="*/ 0 w 1032516"/>
              <a:gd name="connsiteY20" fmla="*/ 451923 h 1060076"/>
              <a:gd name="connsiteX21" fmla="*/ 8965 w 1032516"/>
              <a:gd name="connsiteY21" fmla="*/ 532612 h 1060076"/>
              <a:gd name="connsiteX22" fmla="*/ 22414 w 1032516"/>
              <a:gd name="connsiteY22" fmla="*/ 601347 h 1060076"/>
              <a:gd name="connsiteX23" fmla="*/ 31379 w 1032516"/>
              <a:gd name="connsiteY23" fmla="*/ 635714 h 1060076"/>
              <a:gd name="connsiteX24" fmla="*/ 62758 w 1032516"/>
              <a:gd name="connsiteY24" fmla="*/ 719391 h 1060076"/>
              <a:gd name="connsiteX25" fmla="*/ 94137 w 1032516"/>
              <a:gd name="connsiteY25" fmla="*/ 782149 h 1060076"/>
              <a:gd name="connsiteX26" fmla="*/ 101608 w 1032516"/>
              <a:gd name="connsiteY26" fmla="*/ 795597 h 1060076"/>
              <a:gd name="connsiteX27" fmla="*/ 153906 w 1032516"/>
              <a:gd name="connsiteY27" fmla="*/ 879275 h 1060076"/>
              <a:gd name="connsiteX28" fmla="*/ 155400 w 1032516"/>
              <a:gd name="connsiteY28" fmla="*/ 880769 h 1060076"/>
              <a:gd name="connsiteX29" fmla="*/ 173331 w 1032516"/>
              <a:gd name="connsiteY29" fmla="*/ 904676 h 1060076"/>
              <a:gd name="connsiteX30" fmla="*/ 180802 w 1032516"/>
              <a:gd name="connsiteY30" fmla="*/ 913642 h 1060076"/>
              <a:gd name="connsiteX31" fmla="*/ 233101 w 1032516"/>
              <a:gd name="connsiteY31" fmla="*/ 965940 h 1060076"/>
              <a:gd name="connsiteX32" fmla="*/ 277928 w 1032516"/>
              <a:gd name="connsiteY32" fmla="*/ 995825 h 1060076"/>
              <a:gd name="connsiteX33" fmla="*/ 348157 w 1032516"/>
              <a:gd name="connsiteY33" fmla="*/ 1025710 h 1060076"/>
              <a:gd name="connsiteX34" fmla="*/ 352640 w 1032516"/>
              <a:gd name="connsiteY34" fmla="*/ 1027204 h 1060076"/>
              <a:gd name="connsiteX35" fmla="*/ 401949 w 1032516"/>
              <a:gd name="connsiteY35" fmla="*/ 1045135 h 1060076"/>
              <a:gd name="connsiteX36" fmla="*/ 481144 w 1032516"/>
              <a:gd name="connsiteY36" fmla="*/ 1058583 h 1060076"/>
              <a:gd name="connsiteX37" fmla="*/ 512523 w 1032516"/>
              <a:gd name="connsiteY37" fmla="*/ 1060077 h 1060076"/>
              <a:gd name="connsiteX38" fmla="*/ 521488 w 1032516"/>
              <a:gd name="connsiteY38" fmla="*/ 1060077 h 1060076"/>
              <a:gd name="connsiteX39" fmla="*/ 549879 w 1032516"/>
              <a:gd name="connsiteY39" fmla="*/ 1060077 h 1060076"/>
              <a:gd name="connsiteX40" fmla="*/ 554361 w 1032516"/>
              <a:gd name="connsiteY40" fmla="*/ 1060077 h 1060076"/>
              <a:gd name="connsiteX41" fmla="*/ 585740 w 1032516"/>
              <a:gd name="connsiteY41" fmla="*/ 1058583 h 1060076"/>
              <a:gd name="connsiteX42" fmla="*/ 593212 w 1032516"/>
              <a:gd name="connsiteY42" fmla="*/ 1058583 h 1060076"/>
              <a:gd name="connsiteX43" fmla="*/ 624590 w 1032516"/>
              <a:gd name="connsiteY43" fmla="*/ 1055594 h 1060076"/>
              <a:gd name="connsiteX44" fmla="*/ 684360 w 1032516"/>
              <a:gd name="connsiteY44" fmla="*/ 1043640 h 1060076"/>
              <a:gd name="connsiteX45" fmla="*/ 753095 w 1032516"/>
              <a:gd name="connsiteY45" fmla="*/ 1019733 h 1060076"/>
              <a:gd name="connsiteX46" fmla="*/ 760566 w 1032516"/>
              <a:gd name="connsiteY46" fmla="*/ 1016744 h 1060076"/>
              <a:gd name="connsiteX47" fmla="*/ 830795 w 1032516"/>
              <a:gd name="connsiteY47" fmla="*/ 977894 h 1060076"/>
              <a:gd name="connsiteX48" fmla="*/ 884587 w 1032516"/>
              <a:gd name="connsiteY48" fmla="*/ 934561 h 1060076"/>
              <a:gd name="connsiteX49" fmla="*/ 935391 w 1032516"/>
              <a:gd name="connsiteY49" fmla="*/ 880769 h 1060076"/>
              <a:gd name="connsiteX50" fmla="*/ 977230 w 1032516"/>
              <a:gd name="connsiteY50" fmla="*/ 816517 h 1060076"/>
              <a:gd name="connsiteX51" fmla="*/ 1004126 w 1032516"/>
              <a:gd name="connsiteY51" fmla="*/ 746288 h 1060076"/>
              <a:gd name="connsiteX52" fmla="*/ 1014586 w 1032516"/>
              <a:gd name="connsiteY52" fmla="*/ 704449 h 1060076"/>
              <a:gd name="connsiteX53" fmla="*/ 1023551 w 1032516"/>
              <a:gd name="connsiteY53" fmla="*/ 655139 h 1060076"/>
              <a:gd name="connsiteX54" fmla="*/ 1026540 w 1032516"/>
              <a:gd name="connsiteY54" fmla="*/ 637208 h 1060076"/>
              <a:gd name="connsiteX55" fmla="*/ 1028034 w 1032516"/>
              <a:gd name="connsiteY55" fmla="*/ 629737 h 1060076"/>
              <a:gd name="connsiteX56" fmla="*/ 1029528 w 1032516"/>
              <a:gd name="connsiteY56" fmla="*/ 613301 h 1060076"/>
              <a:gd name="connsiteX57" fmla="*/ 1031022 w 1032516"/>
              <a:gd name="connsiteY57" fmla="*/ 598358 h 1060076"/>
              <a:gd name="connsiteX58" fmla="*/ 1032517 w 1032516"/>
              <a:gd name="connsiteY58" fmla="*/ 553531 h 1060076"/>
              <a:gd name="connsiteX59" fmla="*/ 1029528 w 1032516"/>
              <a:gd name="connsiteY59" fmla="*/ 507210 h 1060076"/>
              <a:gd name="connsiteX60" fmla="*/ 1025046 w 1032516"/>
              <a:gd name="connsiteY60" fmla="*/ 462383 h 1060076"/>
              <a:gd name="connsiteX61" fmla="*/ 1019069 w 1032516"/>
              <a:gd name="connsiteY61" fmla="*/ 417556 h 1060076"/>
              <a:gd name="connsiteX62" fmla="*/ 1011597 w 1032516"/>
              <a:gd name="connsiteY62" fmla="*/ 377211 h 1060076"/>
              <a:gd name="connsiteX63" fmla="*/ 1011597 w 1032516"/>
              <a:gd name="connsiteY63" fmla="*/ 374223 h 1060076"/>
              <a:gd name="connsiteX64" fmla="*/ 999644 w 1032516"/>
              <a:gd name="connsiteY64" fmla="*/ 332384 h 1060076"/>
              <a:gd name="connsiteX65" fmla="*/ 995161 w 1032516"/>
              <a:gd name="connsiteY65" fmla="*/ 317442 h 1060076"/>
              <a:gd name="connsiteX66" fmla="*/ 990678 w 1032516"/>
              <a:gd name="connsiteY66" fmla="*/ 305488 h 1060076"/>
              <a:gd name="connsiteX67" fmla="*/ 987690 w 1032516"/>
              <a:gd name="connsiteY67" fmla="*/ 299511 h 1060076"/>
              <a:gd name="connsiteX68" fmla="*/ 977230 w 1032516"/>
              <a:gd name="connsiteY68" fmla="*/ 268132 h 1060076"/>
              <a:gd name="connsiteX69" fmla="*/ 941368 w 1032516"/>
              <a:gd name="connsiteY69" fmla="*/ 202386 h 1060076"/>
              <a:gd name="connsiteX70" fmla="*/ 902518 w 1032516"/>
              <a:gd name="connsiteY70" fmla="*/ 154570 h 1060076"/>
              <a:gd name="connsiteX71" fmla="*/ 836772 w 1032516"/>
              <a:gd name="connsiteY71" fmla="*/ 99284 h 1060076"/>
              <a:gd name="connsiteX72" fmla="*/ 803899 w 1032516"/>
              <a:gd name="connsiteY72" fmla="*/ 78364 h 1060076"/>
              <a:gd name="connsiteX73" fmla="*/ 762060 w 1032516"/>
              <a:gd name="connsiteY73" fmla="*/ 54457 h 1060076"/>
              <a:gd name="connsiteX74" fmla="*/ 723210 w 1032516"/>
              <a:gd name="connsiteY74" fmla="*/ 33537 h 1060076"/>
              <a:gd name="connsiteX75" fmla="*/ 705279 w 1032516"/>
              <a:gd name="connsiteY75" fmla="*/ 26066 h 1060076"/>
              <a:gd name="connsiteX76" fmla="*/ 648498 w 1032516"/>
              <a:gd name="connsiteY76" fmla="*/ 6641 h 1060076"/>
              <a:gd name="connsiteX77" fmla="*/ 603671 w 1032516"/>
              <a:gd name="connsiteY77" fmla="*/ 2158 h 106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1032516" h="1060076">
                <a:moveTo>
                  <a:pt x="603671" y="2158"/>
                </a:moveTo>
                <a:cubicBezTo>
                  <a:pt x="594706" y="664"/>
                  <a:pt x="587235" y="664"/>
                  <a:pt x="579763" y="664"/>
                </a:cubicBezTo>
                <a:cubicBezTo>
                  <a:pt x="543902" y="-830"/>
                  <a:pt x="506546" y="664"/>
                  <a:pt x="458730" y="664"/>
                </a:cubicBezTo>
                <a:cubicBezTo>
                  <a:pt x="439305" y="2158"/>
                  <a:pt x="418386" y="5147"/>
                  <a:pt x="395972" y="9629"/>
                </a:cubicBezTo>
                <a:cubicBezTo>
                  <a:pt x="370570" y="15606"/>
                  <a:pt x="349651" y="23078"/>
                  <a:pt x="330226" y="32043"/>
                </a:cubicBezTo>
                <a:cubicBezTo>
                  <a:pt x="325743" y="33537"/>
                  <a:pt x="321261" y="35032"/>
                  <a:pt x="316778" y="38020"/>
                </a:cubicBezTo>
                <a:cubicBezTo>
                  <a:pt x="304824" y="43997"/>
                  <a:pt x="291376" y="49974"/>
                  <a:pt x="279422" y="57445"/>
                </a:cubicBezTo>
                <a:lnTo>
                  <a:pt x="271951" y="61928"/>
                </a:lnTo>
                <a:cubicBezTo>
                  <a:pt x="259997" y="69399"/>
                  <a:pt x="248043" y="73882"/>
                  <a:pt x="239078" y="81353"/>
                </a:cubicBezTo>
                <a:cubicBezTo>
                  <a:pt x="237583" y="81353"/>
                  <a:pt x="237583" y="81353"/>
                  <a:pt x="236089" y="82847"/>
                </a:cubicBezTo>
                <a:cubicBezTo>
                  <a:pt x="222641" y="90318"/>
                  <a:pt x="210687" y="97789"/>
                  <a:pt x="200228" y="103766"/>
                </a:cubicBezTo>
                <a:cubicBezTo>
                  <a:pt x="195745" y="106755"/>
                  <a:pt x="191262" y="111237"/>
                  <a:pt x="186779" y="112732"/>
                </a:cubicBezTo>
                <a:lnTo>
                  <a:pt x="182297" y="115720"/>
                </a:lnTo>
                <a:cubicBezTo>
                  <a:pt x="167354" y="127674"/>
                  <a:pt x="152412" y="141122"/>
                  <a:pt x="140458" y="154570"/>
                </a:cubicBezTo>
                <a:lnTo>
                  <a:pt x="137470" y="157559"/>
                </a:lnTo>
                <a:cubicBezTo>
                  <a:pt x="116550" y="178478"/>
                  <a:pt x="95631" y="202386"/>
                  <a:pt x="77700" y="224799"/>
                </a:cubicBezTo>
                <a:cubicBezTo>
                  <a:pt x="68735" y="236753"/>
                  <a:pt x="59769" y="248707"/>
                  <a:pt x="52298" y="259167"/>
                </a:cubicBezTo>
                <a:cubicBezTo>
                  <a:pt x="40344" y="277098"/>
                  <a:pt x="28390" y="296523"/>
                  <a:pt x="19425" y="315948"/>
                </a:cubicBezTo>
                <a:cubicBezTo>
                  <a:pt x="13448" y="332384"/>
                  <a:pt x="7471" y="348821"/>
                  <a:pt x="4483" y="368246"/>
                </a:cubicBezTo>
                <a:cubicBezTo>
                  <a:pt x="2988" y="374223"/>
                  <a:pt x="1494" y="381694"/>
                  <a:pt x="1494" y="387671"/>
                </a:cubicBezTo>
                <a:cubicBezTo>
                  <a:pt x="0" y="411579"/>
                  <a:pt x="0" y="432498"/>
                  <a:pt x="0" y="451923"/>
                </a:cubicBezTo>
                <a:cubicBezTo>
                  <a:pt x="0" y="480314"/>
                  <a:pt x="5977" y="508704"/>
                  <a:pt x="8965" y="532612"/>
                </a:cubicBezTo>
                <a:cubicBezTo>
                  <a:pt x="13448" y="553531"/>
                  <a:pt x="16437" y="577439"/>
                  <a:pt x="22414" y="601347"/>
                </a:cubicBezTo>
                <a:cubicBezTo>
                  <a:pt x="25402" y="613301"/>
                  <a:pt x="28390" y="625255"/>
                  <a:pt x="31379" y="635714"/>
                </a:cubicBezTo>
                <a:cubicBezTo>
                  <a:pt x="40344" y="662610"/>
                  <a:pt x="49310" y="689507"/>
                  <a:pt x="62758" y="719391"/>
                </a:cubicBezTo>
                <a:cubicBezTo>
                  <a:pt x="71723" y="741805"/>
                  <a:pt x="83677" y="762724"/>
                  <a:pt x="94137" y="782149"/>
                </a:cubicBezTo>
                <a:cubicBezTo>
                  <a:pt x="97125" y="786632"/>
                  <a:pt x="98620" y="791115"/>
                  <a:pt x="101608" y="795597"/>
                </a:cubicBezTo>
                <a:cubicBezTo>
                  <a:pt x="119539" y="826976"/>
                  <a:pt x="137470" y="853873"/>
                  <a:pt x="153906" y="879275"/>
                </a:cubicBezTo>
                <a:lnTo>
                  <a:pt x="155400" y="880769"/>
                </a:lnTo>
                <a:cubicBezTo>
                  <a:pt x="159883" y="888240"/>
                  <a:pt x="167354" y="897205"/>
                  <a:pt x="173331" y="904676"/>
                </a:cubicBezTo>
                <a:cubicBezTo>
                  <a:pt x="174826" y="907665"/>
                  <a:pt x="177814" y="910653"/>
                  <a:pt x="180802" y="913642"/>
                </a:cubicBezTo>
                <a:cubicBezTo>
                  <a:pt x="197239" y="933067"/>
                  <a:pt x="213676" y="949504"/>
                  <a:pt x="233101" y="965940"/>
                </a:cubicBezTo>
                <a:cubicBezTo>
                  <a:pt x="245055" y="976400"/>
                  <a:pt x="259997" y="985365"/>
                  <a:pt x="277928" y="995825"/>
                </a:cubicBezTo>
                <a:cubicBezTo>
                  <a:pt x="303330" y="1009273"/>
                  <a:pt x="325743" y="1018238"/>
                  <a:pt x="348157" y="1025710"/>
                </a:cubicBezTo>
                <a:cubicBezTo>
                  <a:pt x="349651" y="1025710"/>
                  <a:pt x="351145" y="1025710"/>
                  <a:pt x="352640" y="1027204"/>
                </a:cubicBezTo>
                <a:cubicBezTo>
                  <a:pt x="370570" y="1036169"/>
                  <a:pt x="385513" y="1042146"/>
                  <a:pt x="401949" y="1045135"/>
                </a:cubicBezTo>
                <a:cubicBezTo>
                  <a:pt x="425857" y="1052606"/>
                  <a:pt x="452753" y="1055594"/>
                  <a:pt x="481144" y="1058583"/>
                </a:cubicBezTo>
                <a:cubicBezTo>
                  <a:pt x="491603" y="1060077"/>
                  <a:pt x="502063" y="1060077"/>
                  <a:pt x="512523" y="1060077"/>
                </a:cubicBezTo>
                <a:cubicBezTo>
                  <a:pt x="515511" y="1060077"/>
                  <a:pt x="518500" y="1060077"/>
                  <a:pt x="521488" y="1060077"/>
                </a:cubicBezTo>
                <a:cubicBezTo>
                  <a:pt x="530454" y="1060077"/>
                  <a:pt x="540913" y="1060077"/>
                  <a:pt x="549879" y="1060077"/>
                </a:cubicBezTo>
                <a:cubicBezTo>
                  <a:pt x="551373" y="1060077"/>
                  <a:pt x="552867" y="1060077"/>
                  <a:pt x="554361" y="1060077"/>
                </a:cubicBezTo>
                <a:cubicBezTo>
                  <a:pt x="564821" y="1060077"/>
                  <a:pt x="575281" y="1058583"/>
                  <a:pt x="585740" y="1058583"/>
                </a:cubicBezTo>
                <a:cubicBezTo>
                  <a:pt x="587235" y="1058583"/>
                  <a:pt x="590223" y="1058583"/>
                  <a:pt x="593212" y="1058583"/>
                </a:cubicBezTo>
                <a:cubicBezTo>
                  <a:pt x="603671" y="1057089"/>
                  <a:pt x="614131" y="1057089"/>
                  <a:pt x="624590" y="1055594"/>
                </a:cubicBezTo>
                <a:cubicBezTo>
                  <a:pt x="644015" y="1052606"/>
                  <a:pt x="661946" y="1049617"/>
                  <a:pt x="684360" y="1043640"/>
                </a:cubicBezTo>
                <a:cubicBezTo>
                  <a:pt x="703785" y="1037663"/>
                  <a:pt x="729187" y="1030192"/>
                  <a:pt x="753095" y="1019733"/>
                </a:cubicBezTo>
                <a:cubicBezTo>
                  <a:pt x="756083" y="1018238"/>
                  <a:pt x="757577" y="1018238"/>
                  <a:pt x="760566" y="1016744"/>
                </a:cubicBezTo>
                <a:cubicBezTo>
                  <a:pt x="787462" y="1004790"/>
                  <a:pt x="812864" y="989848"/>
                  <a:pt x="830795" y="977894"/>
                </a:cubicBezTo>
                <a:cubicBezTo>
                  <a:pt x="848726" y="965940"/>
                  <a:pt x="866657" y="952492"/>
                  <a:pt x="884587" y="934561"/>
                </a:cubicBezTo>
                <a:cubicBezTo>
                  <a:pt x="905507" y="915136"/>
                  <a:pt x="921943" y="897205"/>
                  <a:pt x="935391" y="880769"/>
                </a:cubicBezTo>
                <a:cubicBezTo>
                  <a:pt x="950334" y="861344"/>
                  <a:pt x="965276" y="840424"/>
                  <a:pt x="977230" y="816517"/>
                </a:cubicBezTo>
                <a:cubicBezTo>
                  <a:pt x="989184" y="794103"/>
                  <a:pt x="996655" y="768701"/>
                  <a:pt x="1004126" y="746288"/>
                </a:cubicBezTo>
                <a:cubicBezTo>
                  <a:pt x="1008609" y="732839"/>
                  <a:pt x="1011597" y="720886"/>
                  <a:pt x="1014586" y="704449"/>
                </a:cubicBezTo>
                <a:cubicBezTo>
                  <a:pt x="1017574" y="691001"/>
                  <a:pt x="1020563" y="673070"/>
                  <a:pt x="1023551" y="655139"/>
                </a:cubicBezTo>
                <a:cubicBezTo>
                  <a:pt x="1025046" y="650656"/>
                  <a:pt x="1025046" y="644680"/>
                  <a:pt x="1026540" y="637208"/>
                </a:cubicBezTo>
                <a:cubicBezTo>
                  <a:pt x="1026540" y="635714"/>
                  <a:pt x="1028034" y="632726"/>
                  <a:pt x="1028034" y="629737"/>
                </a:cubicBezTo>
                <a:cubicBezTo>
                  <a:pt x="1029528" y="625255"/>
                  <a:pt x="1029528" y="619278"/>
                  <a:pt x="1029528" y="613301"/>
                </a:cubicBezTo>
                <a:cubicBezTo>
                  <a:pt x="1029528" y="608818"/>
                  <a:pt x="1029528" y="604335"/>
                  <a:pt x="1031022" y="598358"/>
                </a:cubicBezTo>
                <a:cubicBezTo>
                  <a:pt x="1032517" y="583416"/>
                  <a:pt x="1032517" y="568474"/>
                  <a:pt x="1032517" y="553531"/>
                </a:cubicBezTo>
                <a:cubicBezTo>
                  <a:pt x="1032517" y="538589"/>
                  <a:pt x="1031022" y="523646"/>
                  <a:pt x="1029528" y="507210"/>
                </a:cubicBezTo>
                <a:cubicBezTo>
                  <a:pt x="1028034" y="492268"/>
                  <a:pt x="1026540" y="478819"/>
                  <a:pt x="1025046" y="462383"/>
                </a:cubicBezTo>
                <a:cubicBezTo>
                  <a:pt x="1023551" y="448935"/>
                  <a:pt x="1022057" y="433992"/>
                  <a:pt x="1019069" y="417556"/>
                </a:cubicBezTo>
                <a:cubicBezTo>
                  <a:pt x="1016080" y="404108"/>
                  <a:pt x="1013092" y="390660"/>
                  <a:pt x="1011597" y="377211"/>
                </a:cubicBezTo>
                <a:lnTo>
                  <a:pt x="1011597" y="374223"/>
                </a:lnTo>
                <a:cubicBezTo>
                  <a:pt x="1008609" y="360775"/>
                  <a:pt x="1004126" y="345832"/>
                  <a:pt x="999644" y="332384"/>
                </a:cubicBezTo>
                <a:cubicBezTo>
                  <a:pt x="998149" y="327902"/>
                  <a:pt x="996655" y="321925"/>
                  <a:pt x="995161" y="317442"/>
                </a:cubicBezTo>
                <a:cubicBezTo>
                  <a:pt x="993667" y="312959"/>
                  <a:pt x="992172" y="308477"/>
                  <a:pt x="990678" y="305488"/>
                </a:cubicBezTo>
                <a:cubicBezTo>
                  <a:pt x="989184" y="302500"/>
                  <a:pt x="989184" y="301005"/>
                  <a:pt x="987690" y="299511"/>
                </a:cubicBezTo>
                <a:cubicBezTo>
                  <a:pt x="984701" y="289052"/>
                  <a:pt x="980218" y="280086"/>
                  <a:pt x="977230" y="268132"/>
                </a:cubicBezTo>
                <a:cubicBezTo>
                  <a:pt x="966770" y="244224"/>
                  <a:pt x="954816" y="221811"/>
                  <a:pt x="941368" y="202386"/>
                </a:cubicBezTo>
                <a:cubicBezTo>
                  <a:pt x="930909" y="185949"/>
                  <a:pt x="918955" y="171007"/>
                  <a:pt x="902518" y="154570"/>
                </a:cubicBezTo>
                <a:cubicBezTo>
                  <a:pt x="883093" y="133651"/>
                  <a:pt x="859185" y="115720"/>
                  <a:pt x="836772" y="99284"/>
                </a:cubicBezTo>
                <a:cubicBezTo>
                  <a:pt x="826312" y="91812"/>
                  <a:pt x="814358" y="84341"/>
                  <a:pt x="803899" y="78364"/>
                </a:cubicBezTo>
                <a:cubicBezTo>
                  <a:pt x="788956" y="69399"/>
                  <a:pt x="775508" y="61928"/>
                  <a:pt x="762060" y="54457"/>
                </a:cubicBezTo>
                <a:cubicBezTo>
                  <a:pt x="747118" y="46985"/>
                  <a:pt x="735164" y="41008"/>
                  <a:pt x="723210" y="33537"/>
                </a:cubicBezTo>
                <a:cubicBezTo>
                  <a:pt x="717233" y="30549"/>
                  <a:pt x="711256" y="27560"/>
                  <a:pt x="705279" y="26066"/>
                </a:cubicBezTo>
                <a:cubicBezTo>
                  <a:pt x="687348" y="18595"/>
                  <a:pt x="669417" y="12618"/>
                  <a:pt x="648498" y="6641"/>
                </a:cubicBezTo>
                <a:cubicBezTo>
                  <a:pt x="636544" y="8135"/>
                  <a:pt x="620108" y="5147"/>
                  <a:pt x="603671" y="2158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6142C66-C346-4E00-A4D1-1A423CF83963}"/>
              </a:ext>
            </a:extLst>
          </p:cNvPr>
          <p:cNvSpPr/>
          <p:nvPr userDrawn="1"/>
        </p:nvSpPr>
        <p:spPr>
          <a:xfrm>
            <a:off x="8519570" y="2011329"/>
            <a:ext cx="1061311" cy="1001193"/>
          </a:xfrm>
          <a:custGeom>
            <a:avLst/>
            <a:gdLst>
              <a:gd name="connsiteX0" fmla="*/ 835278 w 877116"/>
              <a:gd name="connsiteY0" fmla="*/ 593211 h 827432"/>
              <a:gd name="connsiteX1" fmla="*/ 842749 w 877116"/>
              <a:gd name="connsiteY1" fmla="*/ 575281 h 827432"/>
              <a:gd name="connsiteX2" fmla="*/ 869645 w 877116"/>
              <a:gd name="connsiteY2" fmla="*/ 481144 h 827432"/>
              <a:gd name="connsiteX3" fmla="*/ 877116 w 877116"/>
              <a:gd name="connsiteY3" fmla="*/ 430340 h 827432"/>
              <a:gd name="connsiteX4" fmla="*/ 875622 w 877116"/>
              <a:gd name="connsiteY4" fmla="*/ 373559 h 827432"/>
              <a:gd name="connsiteX5" fmla="*/ 874128 w 877116"/>
              <a:gd name="connsiteY5" fmla="*/ 361605 h 827432"/>
              <a:gd name="connsiteX6" fmla="*/ 868151 w 877116"/>
              <a:gd name="connsiteY6" fmla="*/ 328732 h 827432"/>
              <a:gd name="connsiteX7" fmla="*/ 863668 w 877116"/>
              <a:gd name="connsiteY7" fmla="*/ 319766 h 827432"/>
              <a:gd name="connsiteX8" fmla="*/ 856197 w 877116"/>
              <a:gd name="connsiteY8" fmla="*/ 289882 h 827432"/>
              <a:gd name="connsiteX9" fmla="*/ 856197 w 877116"/>
              <a:gd name="connsiteY9" fmla="*/ 286893 h 827432"/>
              <a:gd name="connsiteX10" fmla="*/ 848726 w 877116"/>
              <a:gd name="connsiteY10" fmla="*/ 254020 h 827432"/>
              <a:gd name="connsiteX11" fmla="*/ 844243 w 877116"/>
              <a:gd name="connsiteY11" fmla="*/ 242066 h 827432"/>
              <a:gd name="connsiteX12" fmla="*/ 842749 w 877116"/>
              <a:gd name="connsiteY12" fmla="*/ 237583 h 827432"/>
              <a:gd name="connsiteX13" fmla="*/ 821829 w 877116"/>
              <a:gd name="connsiteY13" fmla="*/ 195745 h 827432"/>
              <a:gd name="connsiteX14" fmla="*/ 820335 w 877116"/>
              <a:gd name="connsiteY14" fmla="*/ 192756 h 827432"/>
              <a:gd name="connsiteX15" fmla="*/ 781485 w 877116"/>
              <a:gd name="connsiteY15" fmla="*/ 129998 h 827432"/>
              <a:gd name="connsiteX16" fmla="*/ 759072 w 877116"/>
              <a:gd name="connsiteY16" fmla="*/ 101608 h 827432"/>
              <a:gd name="connsiteX17" fmla="*/ 721716 w 877116"/>
              <a:gd name="connsiteY17" fmla="*/ 62758 h 827432"/>
              <a:gd name="connsiteX18" fmla="*/ 684360 w 877116"/>
              <a:gd name="connsiteY18" fmla="*/ 38850 h 827432"/>
              <a:gd name="connsiteX19" fmla="*/ 669417 w 877116"/>
              <a:gd name="connsiteY19" fmla="*/ 31379 h 827432"/>
              <a:gd name="connsiteX20" fmla="*/ 621602 w 877116"/>
              <a:gd name="connsiteY20" fmla="*/ 16437 h 827432"/>
              <a:gd name="connsiteX21" fmla="*/ 555856 w 877116"/>
              <a:gd name="connsiteY21" fmla="*/ 5977 h 827432"/>
              <a:gd name="connsiteX22" fmla="*/ 499075 w 877116"/>
              <a:gd name="connsiteY22" fmla="*/ 1494 h 827432"/>
              <a:gd name="connsiteX23" fmla="*/ 470684 w 877116"/>
              <a:gd name="connsiteY23" fmla="*/ 0 h 827432"/>
              <a:gd name="connsiteX24" fmla="*/ 397467 w 877116"/>
              <a:gd name="connsiteY24" fmla="*/ 4483 h 827432"/>
              <a:gd name="connsiteX25" fmla="*/ 340686 w 877116"/>
              <a:gd name="connsiteY25" fmla="*/ 14942 h 827432"/>
              <a:gd name="connsiteX26" fmla="*/ 328732 w 877116"/>
              <a:gd name="connsiteY26" fmla="*/ 17931 h 827432"/>
              <a:gd name="connsiteX27" fmla="*/ 251032 w 877116"/>
              <a:gd name="connsiteY27" fmla="*/ 40344 h 827432"/>
              <a:gd name="connsiteX28" fmla="*/ 251032 w 877116"/>
              <a:gd name="connsiteY28" fmla="*/ 41839 h 827432"/>
              <a:gd name="connsiteX29" fmla="*/ 227124 w 877116"/>
              <a:gd name="connsiteY29" fmla="*/ 50804 h 827432"/>
              <a:gd name="connsiteX30" fmla="*/ 218158 w 877116"/>
              <a:gd name="connsiteY30" fmla="*/ 55287 h 827432"/>
              <a:gd name="connsiteX31" fmla="*/ 165860 w 877116"/>
              <a:gd name="connsiteY31" fmla="*/ 83677 h 827432"/>
              <a:gd name="connsiteX32" fmla="*/ 131493 w 877116"/>
              <a:gd name="connsiteY32" fmla="*/ 112068 h 827432"/>
              <a:gd name="connsiteX33" fmla="*/ 92643 w 877116"/>
              <a:gd name="connsiteY33" fmla="*/ 159883 h 827432"/>
              <a:gd name="connsiteX34" fmla="*/ 89654 w 877116"/>
              <a:gd name="connsiteY34" fmla="*/ 162872 h 827432"/>
              <a:gd name="connsiteX35" fmla="*/ 64252 w 877116"/>
              <a:gd name="connsiteY35" fmla="*/ 197239 h 827432"/>
              <a:gd name="connsiteX36" fmla="*/ 34367 w 877116"/>
              <a:gd name="connsiteY36" fmla="*/ 255514 h 827432"/>
              <a:gd name="connsiteX37" fmla="*/ 25402 w 877116"/>
              <a:gd name="connsiteY37" fmla="*/ 279422 h 827432"/>
              <a:gd name="connsiteX38" fmla="*/ 23908 w 877116"/>
              <a:gd name="connsiteY38" fmla="*/ 285399 h 827432"/>
              <a:gd name="connsiteX39" fmla="*/ 16437 w 877116"/>
              <a:gd name="connsiteY39" fmla="*/ 307813 h 827432"/>
              <a:gd name="connsiteX40" fmla="*/ 14942 w 877116"/>
              <a:gd name="connsiteY40" fmla="*/ 310801 h 827432"/>
              <a:gd name="connsiteX41" fmla="*/ 8965 w 877116"/>
              <a:gd name="connsiteY41" fmla="*/ 334709 h 827432"/>
              <a:gd name="connsiteX42" fmla="*/ 7471 w 877116"/>
              <a:gd name="connsiteY42" fmla="*/ 340686 h 827432"/>
              <a:gd name="connsiteX43" fmla="*/ 2988 w 877116"/>
              <a:gd name="connsiteY43" fmla="*/ 366088 h 827432"/>
              <a:gd name="connsiteX44" fmla="*/ 0 w 877116"/>
              <a:gd name="connsiteY44" fmla="*/ 415397 h 827432"/>
              <a:gd name="connsiteX45" fmla="*/ 2988 w 877116"/>
              <a:gd name="connsiteY45" fmla="*/ 475167 h 827432"/>
              <a:gd name="connsiteX46" fmla="*/ 4483 w 877116"/>
              <a:gd name="connsiteY46" fmla="*/ 482638 h 827432"/>
              <a:gd name="connsiteX47" fmla="*/ 19425 w 877116"/>
              <a:gd name="connsiteY47" fmla="*/ 546890 h 827432"/>
              <a:gd name="connsiteX48" fmla="*/ 40344 w 877116"/>
              <a:gd name="connsiteY48" fmla="*/ 599188 h 827432"/>
              <a:gd name="connsiteX49" fmla="*/ 70229 w 877116"/>
              <a:gd name="connsiteY49" fmla="*/ 651487 h 827432"/>
              <a:gd name="connsiteX50" fmla="*/ 110573 w 877116"/>
              <a:gd name="connsiteY50" fmla="*/ 699302 h 827432"/>
              <a:gd name="connsiteX51" fmla="*/ 159883 w 877116"/>
              <a:gd name="connsiteY51" fmla="*/ 736658 h 827432"/>
              <a:gd name="connsiteX52" fmla="*/ 189768 w 877116"/>
              <a:gd name="connsiteY52" fmla="*/ 754589 h 827432"/>
              <a:gd name="connsiteX53" fmla="*/ 225630 w 877116"/>
              <a:gd name="connsiteY53" fmla="*/ 774014 h 827432"/>
              <a:gd name="connsiteX54" fmla="*/ 239078 w 877116"/>
              <a:gd name="connsiteY54" fmla="*/ 779991 h 827432"/>
              <a:gd name="connsiteX55" fmla="*/ 245055 w 877116"/>
              <a:gd name="connsiteY55" fmla="*/ 782979 h 827432"/>
              <a:gd name="connsiteX56" fmla="*/ 257009 w 877116"/>
              <a:gd name="connsiteY56" fmla="*/ 787462 h 827432"/>
              <a:gd name="connsiteX57" fmla="*/ 268962 w 877116"/>
              <a:gd name="connsiteY57" fmla="*/ 791945 h 827432"/>
              <a:gd name="connsiteX58" fmla="*/ 303330 w 877116"/>
              <a:gd name="connsiteY58" fmla="*/ 803899 h 827432"/>
              <a:gd name="connsiteX59" fmla="*/ 340686 w 877116"/>
              <a:gd name="connsiteY59" fmla="*/ 812864 h 827432"/>
              <a:gd name="connsiteX60" fmla="*/ 376547 w 877116"/>
              <a:gd name="connsiteY60" fmla="*/ 818841 h 827432"/>
              <a:gd name="connsiteX61" fmla="*/ 412409 w 877116"/>
              <a:gd name="connsiteY61" fmla="*/ 823324 h 827432"/>
              <a:gd name="connsiteX62" fmla="*/ 445282 w 877116"/>
              <a:gd name="connsiteY62" fmla="*/ 826312 h 827432"/>
              <a:gd name="connsiteX63" fmla="*/ 448271 w 877116"/>
              <a:gd name="connsiteY63" fmla="*/ 826312 h 827432"/>
              <a:gd name="connsiteX64" fmla="*/ 484132 w 877116"/>
              <a:gd name="connsiteY64" fmla="*/ 826312 h 827432"/>
              <a:gd name="connsiteX65" fmla="*/ 497580 w 877116"/>
              <a:gd name="connsiteY65" fmla="*/ 826312 h 827432"/>
              <a:gd name="connsiteX66" fmla="*/ 508040 w 877116"/>
              <a:gd name="connsiteY66" fmla="*/ 826312 h 827432"/>
              <a:gd name="connsiteX67" fmla="*/ 512523 w 877116"/>
              <a:gd name="connsiteY67" fmla="*/ 826312 h 827432"/>
              <a:gd name="connsiteX68" fmla="*/ 539419 w 877116"/>
              <a:gd name="connsiteY68" fmla="*/ 824818 h 827432"/>
              <a:gd name="connsiteX69" fmla="*/ 599188 w 877116"/>
              <a:gd name="connsiteY69" fmla="*/ 811370 h 827432"/>
              <a:gd name="connsiteX70" fmla="*/ 645510 w 877116"/>
              <a:gd name="connsiteY70" fmla="*/ 791945 h 827432"/>
              <a:gd name="connsiteX71" fmla="*/ 703785 w 877116"/>
              <a:gd name="connsiteY71" fmla="*/ 753095 h 827432"/>
              <a:gd name="connsiteX72" fmla="*/ 727693 w 877116"/>
              <a:gd name="connsiteY72" fmla="*/ 732175 h 827432"/>
              <a:gd name="connsiteX73" fmla="*/ 756083 w 877116"/>
              <a:gd name="connsiteY73" fmla="*/ 705279 h 827432"/>
              <a:gd name="connsiteX74" fmla="*/ 781485 w 877116"/>
              <a:gd name="connsiteY74" fmla="*/ 679877 h 827432"/>
              <a:gd name="connsiteX75" fmla="*/ 791945 w 877116"/>
              <a:gd name="connsiteY75" fmla="*/ 667923 h 827432"/>
              <a:gd name="connsiteX76" fmla="*/ 820335 w 877116"/>
              <a:gd name="connsiteY76" fmla="*/ 629073 h 827432"/>
              <a:gd name="connsiteX77" fmla="*/ 835278 w 877116"/>
              <a:gd name="connsiteY77" fmla="*/ 593211 h 8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877116" h="827432">
                <a:moveTo>
                  <a:pt x="835278" y="593211"/>
                </a:moveTo>
                <a:cubicBezTo>
                  <a:pt x="838266" y="587235"/>
                  <a:pt x="839760" y="579763"/>
                  <a:pt x="842749" y="575281"/>
                </a:cubicBezTo>
                <a:cubicBezTo>
                  <a:pt x="851714" y="548384"/>
                  <a:pt x="859185" y="518500"/>
                  <a:pt x="869645" y="481144"/>
                </a:cubicBezTo>
                <a:cubicBezTo>
                  <a:pt x="874128" y="464707"/>
                  <a:pt x="875622" y="448271"/>
                  <a:pt x="877116" y="430340"/>
                </a:cubicBezTo>
                <a:cubicBezTo>
                  <a:pt x="877116" y="409420"/>
                  <a:pt x="877116" y="391490"/>
                  <a:pt x="875622" y="373559"/>
                </a:cubicBezTo>
                <a:cubicBezTo>
                  <a:pt x="875622" y="369076"/>
                  <a:pt x="874128" y="366088"/>
                  <a:pt x="874128" y="361605"/>
                </a:cubicBezTo>
                <a:cubicBezTo>
                  <a:pt x="872633" y="349651"/>
                  <a:pt x="869645" y="339191"/>
                  <a:pt x="868151" y="328732"/>
                </a:cubicBezTo>
                <a:lnTo>
                  <a:pt x="863668" y="319766"/>
                </a:lnTo>
                <a:cubicBezTo>
                  <a:pt x="860680" y="307813"/>
                  <a:pt x="859185" y="298847"/>
                  <a:pt x="856197" y="289882"/>
                </a:cubicBezTo>
                <a:cubicBezTo>
                  <a:pt x="856197" y="288387"/>
                  <a:pt x="856197" y="288387"/>
                  <a:pt x="856197" y="286893"/>
                </a:cubicBezTo>
                <a:cubicBezTo>
                  <a:pt x="853208" y="274939"/>
                  <a:pt x="850220" y="264480"/>
                  <a:pt x="848726" y="254020"/>
                </a:cubicBezTo>
                <a:cubicBezTo>
                  <a:pt x="847232" y="249537"/>
                  <a:pt x="845737" y="245055"/>
                  <a:pt x="844243" y="242066"/>
                </a:cubicBezTo>
                <a:lnTo>
                  <a:pt x="842749" y="237583"/>
                </a:lnTo>
                <a:cubicBezTo>
                  <a:pt x="836772" y="222641"/>
                  <a:pt x="830795" y="209193"/>
                  <a:pt x="821829" y="195745"/>
                </a:cubicBezTo>
                <a:lnTo>
                  <a:pt x="820335" y="192756"/>
                </a:lnTo>
                <a:cubicBezTo>
                  <a:pt x="808381" y="170343"/>
                  <a:pt x="794933" y="149424"/>
                  <a:pt x="781485" y="129998"/>
                </a:cubicBezTo>
                <a:cubicBezTo>
                  <a:pt x="774014" y="119539"/>
                  <a:pt x="766543" y="110573"/>
                  <a:pt x="759072" y="101608"/>
                </a:cubicBezTo>
                <a:cubicBezTo>
                  <a:pt x="748612" y="89654"/>
                  <a:pt x="736658" y="74712"/>
                  <a:pt x="721716" y="62758"/>
                </a:cubicBezTo>
                <a:cubicBezTo>
                  <a:pt x="711256" y="53792"/>
                  <a:pt x="699302" y="46321"/>
                  <a:pt x="684360" y="38850"/>
                </a:cubicBezTo>
                <a:cubicBezTo>
                  <a:pt x="679877" y="35862"/>
                  <a:pt x="673900" y="34367"/>
                  <a:pt x="669417" y="31379"/>
                </a:cubicBezTo>
                <a:cubicBezTo>
                  <a:pt x="652981" y="25402"/>
                  <a:pt x="636544" y="20919"/>
                  <a:pt x="621602" y="16437"/>
                </a:cubicBezTo>
                <a:cubicBezTo>
                  <a:pt x="599188" y="10460"/>
                  <a:pt x="576775" y="7471"/>
                  <a:pt x="555856" y="5977"/>
                </a:cubicBezTo>
                <a:cubicBezTo>
                  <a:pt x="537925" y="4483"/>
                  <a:pt x="518500" y="1494"/>
                  <a:pt x="499075" y="1494"/>
                </a:cubicBezTo>
                <a:cubicBezTo>
                  <a:pt x="490109" y="0"/>
                  <a:pt x="479650" y="0"/>
                  <a:pt x="470684" y="0"/>
                </a:cubicBezTo>
                <a:cubicBezTo>
                  <a:pt x="448271" y="0"/>
                  <a:pt x="424363" y="1494"/>
                  <a:pt x="397467" y="4483"/>
                </a:cubicBezTo>
                <a:cubicBezTo>
                  <a:pt x="379536" y="7471"/>
                  <a:pt x="360111" y="11954"/>
                  <a:pt x="340686" y="14942"/>
                </a:cubicBezTo>
                <a:cubicBezTo>
                  <a:pt x="336203" y="16437"/>
                  <a:pt x="333215" y="16437"/>
                  <a:pt x="328732" y="17931"/>
                </a:cubicBezTo>
                <a:cubicBezTo>
                  <a:pt x="300341" y="23908"/>
                  <a:pt x="274939" y="31379"/>
                  <a:pt x="251032" y="40344"/>
                </a:cubicBezTo>
                <a:lnTo>
                  <a:pt x="251032" y="41839"/>
                </a:lnTo>
                <a:cubicBezTo>
                  <a:pt x="243560" y="44827"/>
                  <a:pt x="236089" y="47816"/>
                  <a:pt x="227124" y="50804"/>
                </a:cubicBezTo>
                <a:cubicBezTo>
                  <a:pt x="224135" y="52298"/>
                  <a:pt x="221147" y="53792"/>
                  <a:pt x="218158" y="55287"/>
                </a:cubicBezTo>
                <a:cubicBezTo>
                  <a:pt x="200228" y="64252"/>
                  <a:pt x="182297" y="73218"/>
                  <a:pt x="165860" y="83677"/>
                </a:cubicBezTo>
                <a:cubicBezTo>
                  <a:pt x="155400" y="89654"/>
                  <a:pt x="143447" y="100114"/>
                  <a:pt x="131493" y="112068"/>
                </a:cubicBezTo>
                <a:cubicBezTo>
                  <a:pt x="115056" y="128504"/>
                  <a:pt x="103102" y="143447"/>
                  <a:pt x="92643" y="159883"/>
                </a:cubicBezTo>
                <a:cubicBezTo>
                  <a:pt x="92643" y="161377"/>
                  <a:pt x="91148" y="162872"/>
                  <a:pt x="89654" y="162872"/>
                </a:cubicBezTo>
                <a:cubicBezTo>
                  <a:pt x="79194" y="174826"/>
                  <a:pt x="70229" y="185285"/>
                  <a:pt x="64252" y="197239"/>
                </a:cubicBezTo>
                <a:cubicBezTo>
                  <a:pt x="53792" y="215170"/>
                  <a:pt x="44827" y="234595"/>
                  <a:pt x="34367" y="255514"/>
                </a:cubicBezTo>
                <a:cubicBezTo>
                  <a:pt x="31379" y="262985"/>
                  <a:pt x="28390" y="271951"/>
                  <a:pt x="25402" y="279422"/>
                </a:cubicBezTo>
                <a:cubicBezTo>
                  <a:pt x="25402" y="282410"/>
                  <a:pt x="23908" y="283905"/>
                  <a:pt x="23908" y="285399"/>
                </a:cubicBezTo>
                <a:cubicBezTo>
                  <a:pt x="22414" y="292870"/>
                  <a:pt x="19425" y="300341"/>
                  <a:pt x="16437" y="307813"/>
                </a:cubicBezTo>
                <a:cubicBezTo>
                  <a:pt x="16437" y="309307"/>
                  <a:pt x="16437" y="310801"/>
                  <a:pt x="14942" y="310801"/>
                </a:cubicBezTo>
                <a:cubicBezTo>
                  <a:pt x="13448" y="318272"/>
                  <a:pt x="10460" y="327238"/>
                  <a:pt x="8965" y="334709"/>
                </a:cubicBezTo>
                <a:cubicBezTo>
                  <a:pt x="8965" y="336203"/>
                  <a:pt x="7471" y="339191"/>
                  <a:pt x="7471" y="340686"/>
                </a:cubicBezTo>
                <a:cubicBezTo>
                  <a:pt x="5977" y="349651"/>
                  <a:pt x="4483" y="357122"/>
                  <a:pt x="2988" y="366088"/>
                </a:cubicBezTo>
                <a:cubicBezTo>
                  <a:pt x="0" y="382524"/>
                  <a:pt x="0" y="397467"/>
                  <a:pt x="0" y="415397"/>
                </a:cubicBezTo>
                <a:cubicBezTo>
                  <a:pt x="0" y="431834"/>
                  <a:pt x="0" y="452753"/>
                  <a:pt x="2988" y="475167"/>
                </a:cubicBezTo>
                <a:cubicBezTo>
                  <a:pt x="2988" y="478155"/>
                  <a:pt x="2988" y="479650"/>
                  <a:pt x="4483" y="482638"/>
                </a:cubicBezTo>
                <a:cubicBezTo>
                  <a:pt x="7471" y="506546"/>
                  <a:pt x="13448" y="528959"/>
                  <a:pt x="19425" y="546890"/>
                </a:cubicBezTo>
                <a:cubicBezTo>
                  <a:pt x="25402" y="564821"/>
                  <a:pt x="31379" y="581258"/>
                  <a:pt x="40344" y="599188"/>
                </a:cubicBezTo>
                <a:cubicBezTo>
                  <a:pt x="50804" y="620108"/>
                  <a:pt x="59769" y="636544"/>
                  <a:pt x="70229" y="651487"/>
                </a:cubicBezTo>
                <a:cubicBezTo>
                  <a:pt x="82183" y="667923"/>
                  <a:pt x="95631" y="684360"/>
                  <a:pt x="110573" y="699302"/>
                </a:cubicBezTo>
                <a:cubicBezTo>
                  <a:pt x="125516" y="714245"/>
                  <a:pt x="143447" y="726198"/>
                  <a:pt x="159883" y="736658"/>
                </a:cubicBezTo>
                <a:cubicBezTo>
                  <a:pt x="168849" y="742635"/>
                  <a:pt x="177814" y="748612"/>
                  <a:pt x="189768" y="754589"/>
                </a:cubicBezTo>
                <a:cubicBezTo>
                  <a:pt x="200228" y="759072"/>
                  <a:pt x="212181" y="766543"/>
                  <a:pt x="225630" y="774014"/>
                </a:cubicBezTo>
                <a:cubicBezTo>
                  <a:pt x="230112" y="775508"/>
                  <a:pt x="234595" y="777002"/>
                  <a:pt x="239078" y="779991"/>
                </a:cubicBezTo>
                <a:cubicBezTo>
                  <a:pt x="240572" y="779991"/>
                  <a:pt x="243560" y="781485"/>
                  <a:pt x="245055" y="782979"/>
                </a:cubicBezTo>
                <a:cubicBezTo>
                  <a:pt x="249537" y="784474"/>
                  <a:pt x="252526" y="787462"/>
                  <a:pt x="257009" y="787462"/>
                </a:cubicBezTo>
                <a:cubicBezTo>
                  <a:pt x="259997" y="788956"/>
                  <a:pt x="264480" y="788956"/>
                  <a:pt x="268962" y="791945"/>
                </a:cubicBezTo>
                <a:cubicBezTo>
                  <a:pt x="280916" y="796427"/>
                  <a:pt x="291376" y="799416"/>
                  <a:pt x="303330" y="803899"/>
                </a:cubicBezTo>
                <a:cubicBezTo>
                  <a:pt x="315284" y="806887"/>
                  <a:pt x="327238" y="809876"/>
                  <a:pt x="340686" y="812864"/>
                </a:cubicBezTo>
                <a:cubicBezTo>
                  <a:pt x="352640" y="815853"/>
                  <a:pt x="364593" y="817347"/>
                  <a:pt x="376547" y="818841"/>
                </a:cubicBezTo>
                <a:cubicBezTo>
                  <a:pt x="387007" y="820335"/>
                  <a:pt x="398961" y="821829"/>
                  <a:pt x="412409" y="823324"/>
                </a:cubicBezTo>
                <a:cubicBezTo>
                  <a:pt x="422869" y="824818"/>
                  <a:pt x="434823" y="824818"/>
                  <a:pt x="445282" y="826312"/>
                </a:cubicBezTo>
                <a:lnTo>
                  <a:pt x="448271" y="826312"/>
                </a:lnTo>
                <a:cubicBezTo>
                  <a:pt x="460225" y="827806"/>
                  <a:pt x="472178" y="827806"/>
                  <a:pt x="484132" y="826312"/>
                </a:cubicBezTo>
                <a:cubicBezTo>
                  <a:pt x="488615" y="826312"/>
                  <a:pt x="493098" y="826312"/>
                  <a:pt x="497580" y="826312"/>
                </a:cubicBezTo>
                <a:cubicBezTo>
                  <a:pt x="500569" y="826312"/>
                  <a:pt x="505052" y="826312"/>
                  <a:pt x="508040" y="826312"/>
                </a:cubicBezTo>
                <a:cubicBezTo>
                  <a:pt x="509534" y="826312"/>
                  <a:pt x="511029" y="826312"/>
                  <a:pt x="512523" y="826312"/>
                </a:cubicBezTo>
                <a:cubicBezTo>
                  <a:pt x="521488" y="826312"/>
                  <a:pt x="528959" y="824818"/>
                  <a:pt x="539419" y="824818"/>
                </a:cubicBezTo>
                <a:cubicBezTo>
                  <a:pt x="560338" y="821829"/>
                  <a:pt x="581258" y="817347"/>
                  <a:pt x="599188" y="811370"/>
                </a:cubicBezTo>
                <a:cubicBezTo>
                  <a:pt x="614131" y="806887"/>
                  <a:pt x="629073" y="800910"/>
                  <a:pt x="645510" y="791945"/>
                </a:cubicBezTo>
                <a:cubicBezTo>
                  <a:pt x="666429" y="781485"/>
                  <a:pt x="685854" y="766543"/>
                  <a:pt x="703785" y="753095"/>
                </a:cubicBezTo>
                <a:cubicBezTo>
                  <a:pt x="712750" y="747118"/>
                  <a:pt x="720222" y="739647"/>
                  <a:pt x="727693" y="732175"/>
                </a:cubicBezTo>
                <a:cubicBezTo>
                  <a:pt x="738152" y="723210"/>
                  <a:pt x="747118" y="714245"/>
                  <a:pt x="756083" y="705279"/>
                </a:cubicBezTo>
                <a:cubicBezTo>
                  <a:pt x="765049" y="696314"/>
                  <a:pt x="774014" y="687348"/>
                  <a:pt x="781485" y="679877"/>
                </a:cubicBezTo>
                <a:cubicBezTo>
                  <a:pt x="785968" y="675394"/>
                  <a:pt x="788956" y="672406"/>
                  <a:pt x="791945" y="667923"/>
                </a:cubicBezTo>
                <a:cubicBezTo>
                  <a:pt x="802404" y="655969"/>
                  <a:pt x="811370" y="642521"/>
                  <a:pt x="820335" y="629073"/>
                </a:cubicBezTo>
                <a:cubicBezTo>
                  <a:pt x="821829" y="617119"/>
                  <a:pt x="829301" y="605165"/>
                  <a:pt x="835278" y="593211"/>
                </a:cubicBezTo>
              </a:path>
            </a:pathLst>
          </a:custGeom>
          <a:solidFill>
            <a:schemeClr val="bg1">
              <a:lumMod val="95000"/>
            </a:schemeClr>
          </a:solidFill>
          <a:ln w="148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 b="0" i="0" dirty="0">
              <a:latin typeface="Avenir Next" panose="020B0503020202020204" pitchFamily="34" charset="0"/>
            </a:endParaRP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B3937D4-54EF-4768-BA7A-29434E549D2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2864" y="3227294"/>
            <a:ext cx="2939777" cy="412759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B4EEB9-0876-45A5-9AF5-FDFF299E9B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4201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: Click to edit Master title style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FDC9F5E7-D299-4AC4-8DA1-9B41F6069B0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128863" y="3227294"/>
            <a:ext cx="2939777" cy="412759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F0AC10CE-547F-A54D-9E48-ECD1AFD0D8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580337" y="3227294"/>
            <a:ext cx="2939777" cy="412759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80A7C74D-3AAB-364A-A2D4-0DA0175756B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31811" y="3227294"/>
            <a:ext cx="2939777" cy="4127594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59278645-7804-4D4F-9487-44EC53C833C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65028C-D350-8DD0-7E60-568327A9485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E49EAD-DA77-092A-D0BB-EDBA569747A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7878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5a. 1-Line Header,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B3937D4-54EF-4768-BA7A-29434E549D2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9" y="2051002"/>
            <a:ext cx="2939777" cy="5303885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B4EEB9-0876-45A5-9AF5-FDFF299E9B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7" y="731520"/>
            <a:ext cx="13294201" cy="4805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One Line Headline: Click to edit Master title style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FDC9F5E7-D299-4AC4-8DA1-9B41F6069B0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128863" y="2051002"/>
            <a:ext cx="2939777" cy="5303885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F0AC10CE-547F-A54D-9E48-ECD1AFD0D8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580337" y="2051002"/>
            <a:ext cx="2939777" cy="5303885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80A7C74D-3AAB-364A-A2D4-0DA0175756B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31811" y="2051002"/>
            <a:ext cx="2939777" cy="5303885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63853198-F19E-0C40-89FC-B9C0158FF78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363163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732A177-C1B3-D640-7C21-95DC4B40A73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DDE74F-044F-EBD4-0290-B74F689DC5C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30725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a. 2-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C2AAB3E-7A16-234B-8430-A824CC934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8" y="731519"/>
            <a:ext cx="13290548" cy="10972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wo Line Headline: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16E4D545-2A1F-42A5-BF37-9B0BB55B814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8" y="2635481"/>
            <a:ext cx="13290550" cy="4719407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39D731CC-D8DB-634A-8C51-A051B7D1E00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864608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747FD41-FB1C-C07F-BC30-32EF5706EB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D29FF0-7E38-1CB1-231B-A1FE18A41EC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7160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a. 2-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C2AAB3E-7A16-234B-8430-A824CC934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8" y="731519"/>
            <a:ext cx="13290548" cy="10972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wo Line Headline: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16E4D545-2A1F-42A5-BF37-9B0BB55B814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8" y="2635481"/>
            <a:ext cx="6458425" cy="4719407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F39B8A21-1C59-4AFB-B364-88662234636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510131" y="2635481"/>
            <a:ext cx="6458425" cy="4719407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D9BFC7ED-B873-9145-A6EA-D65D6A8FD7C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864608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2D5360-71FB-A2EA-5BA7-6029C3171D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40A64D-5E25-E370-0AA7-CAD5546F82F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1962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5a. 1-Line Header,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B3937D4-54EF-4768-BA7A-29434E549D2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8" y="2635480"/>
            <a:ext cx="4136659" cy="4719407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FDC9F5E7-D299-4AC4-8DA1-9B41F6069B0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256159" y="2635480"/>
            <a:ext cx="4136659" cy="4719407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F0AC10CE-547F-A54D-9E48-ECD1AFD0D8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834929" y="2635480"/>
            <a:ext cx="4136659" cy="4719407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9ACB4945-44AE-9743-B58C-E4EF01464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8" y="731519"/>
            <a:ext cx="13290548" cy="10972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wo Line Headline: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D9BEC1A1-96EC-C04A-A70D-368144A3455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864608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204398993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5a. 1-Line Header,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B3937D4-54EF-4768-BA7A-29434E549D2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77389" y="3845858"/>
            <a:ext cx="2939777" cy="3509029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FDC9F5E7-D299-4AC4-8DA1-9B41F6069B0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128863" y="3845858"/>
            <a:ext cx="2939777" cy="3509029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F0AC10CE-547F-A54D-9E48-ECD1AFD0D81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580337" y="3845858"/>
            <a:ext cx="2939777" cy="3509029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80A7C74D-3AAB-364A-A2D4-0DA0175756B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1031811" y="3845858"/>
            <a:ext cx="2939777" cy="3509029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sz="2000" b="0" i="0"/>
            </a:lvl1pPr>
            <a:lvl2pPr>
              <a:spcBef>
                <a:spcPts val="600"/>
              </a:spcBef>
              <a:spcAft>
                <a:spcPts val="600"/>
              </a:spcAft>
              <a:defRPr sz="2000" b="0" i="0"/>
            </a:lvl2pPr>
            <a:lvl3pPr>
              <a:spcBef>
                <a:spcPts val="600"/>
              </a:spcBef>
              <a:spcAft>
                <a:spcPts val="600"/>
              </a:spcAft>
              <a:defRPr sz="2000" b="0" i="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9D8E8428-2D89-6545-8206-11B6832076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7388" y="731519"/>
            <a:ext cx="13290548" cy="10972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wo Line Headline: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26" name="Content Placeholder 7">
            <a:extLst>
              <a:ext uri="{FF2B5EF4-FFF2-40B4-BE49-F238E27FC236}">
                <a16:creationId xmlns:a16="http://schemas.microsoft.com/office/drawing/2014/main" id="{A5311378-2E8B-544D-BAF5-2DC75F9F141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7387" y="1864608"/>
            <a:ext cx="13290549" cy="377148"/>
          </a:xfrm>
        </p:spPr>
        <p:txBody>
          <a:bodyPr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8F97778-9D64-DF0D-FB8C-B447C4D6953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/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4FDD0F-6BBE-8260-C747-42042BCD2DA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 b="0" i="0"/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424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slideLayout" Target="../slideLayouts/slideLayout170.xml"/><Relationship Id="rId18" Type="http://schemas.openxmlformats.org/officeDocument/2006/relationships/slideLayout" Target="../slideLayouts/slideLayout175.xml"/><Relationship Id="rId26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slideLayout" Target="../slideLayouts/slideLayout174.xml"/><Relationship Id="rId25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73.xml"/><Relationship Id="rId20" Type="http://schemas.openxmlformats.org/officeDocument/2006/relationships/slideLayout" Target="../slideLayouts/slideLayout177.xml"/><Relationship Id="rId29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24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62.xml"/><Relationship Id="rId15" Type="http://schemas.openxmlformats.org/officeDocument/2006/relationships/slideLayout" Target="../slideLayouts/slideLayout172.xml"/><Relationship Id="rId23" Type="http://schemas.openxmlformats.org/officeDocument/2006/relationships/slideLayout" Target="../slideLayouts/slideLayout180.xml"/><Relationship Id="rId28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67.xml"/><Relationship Id="rId19" Type="http://schemas.openxmlformats.org/officeDocument/2006/relationships/slideLayout" Target="../slideLayouts/slideLayout176.xml"/><Relationship Id="rId31" Type="http://schemas.openxmlformats.org/officeDocument/2006/relationships/theme" Target="../theme/theme10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slideLayout" Target="../slideLayouts/slideLayout171.xml"/><Relationship Id="rId22" Type="http://schemas.openxmlformats.org/officeDocument/2006/relationships/slideLayout" Target="../slideLayouts/slideLayout179.xml"/><Relationship Id="rId27" Type="http://schemas.openxmlformats.org/officeDocument/2006/relationships/slideLayout" Target="../slideLayouts/slideLayout184.xml"/><Relationship Id="rId30" Type="http://schemas.openxmlformats.org/officeDocument/2006/relationships/slideLayout" Target="../slideLayouts/slideLayout18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image" Target="../media/image11.emf"/><Relationship Id="rId8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oleObject" Target="../embeddings/oleObject4.bin"/><Relationship Id="rId5" Type="http://schemas.openxmlformats.org/officeDocument/2006/relationships/tags" Target="../tags/tag4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9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85.xml"/><Relationship Id="rId34" Type="http://schemas.openxmlformats.org/officeDocument/2006/relationships/slideLayout" Target="../slideLayouts/slideLayout98.xml"/><Relationship Id="rId42" Type="http://schemas.openxmlformats.org/officeDocument/2006/relationships/slideLayout" Target="../slideLayouts/slideLayout106.xml"/><Relationship Id="rId47" Type="http://schemas.openxmlformats.org/officeDocument/2006/relationships/slideLayout" Target="../slideLayouts/slideLayout111.xml"/><Relationship Id="rId50" Type="http://schemas.openxmlformats.org/officeDocument/2006/relationships/slideLayout" Target="../slideLayouts/slideLayout114.xml"/><Relationship Id="rId55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slideLayout" Target="../slideLayouts/slideLayout101.xml"/><Relationship Id="rId40" Type="http://schemas.openxmlformats.org/officeDocument/2006/relationships/slideLayout" Target="../slideLayouts/slideLayout104.xml"/><Relationship Id="rId45" Type="http://schemas.openxmlformats.org/officeDocument/2006/relationships/slideLayout" Target="../slideLayouts/slideLayout109.xml"/><Relationship Id="rId53" Type="http://schemas.openxmlformats.org/officeDocument/2006/relationships/slideLayout" Target="../slideLayouts/slideLayout117.xml"/><Relationship Id="rId58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69.xml"/><Relationship Id="rId61" Type="http://schemas.openxmlformats.org/officeDocument/2006/relationships/image" Target="../media/image10.svg"/><Relationship Id="rId1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slideLayout" Target="../slideLayouts/slideLayout99.xml"/><Relationship Id="rId43" Type="http://schemas.openxmlformats.org/officeDocument/2006/relationships/slideLayout" Target="../slideLayouts/slideLayout107.xml"/><Relationship Id="rId48" Type="http://schemas.openxmlformats.org/officeDocument/2006/relationships/slideLayout" Target="../slideLayouts/slideLayout112.xml"/><Relationship Id="rId56" Type="http://schemas.openxmlformats.org/officeDocument/2006/relationships/slideLayout" Target="../slideLayouts/slideLayout120.xml"/><Relationship Id="rId8" Type="http://schemas.openxmlformats.org/officeDocument/2006/relationships/slideLayout" Target="../slideLayouts/slideLayout72.xml"/><Relationship Id="rId51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slideLayout" Target="../slideLayouts/slideLayout97.xml"/><Relationship Id="rId38" Type="http://schemas.openxmlformats.org/officeDocument/2006/relationships/slideLayout" Target="../slideLayouts/slideLayout102.xml"/><Relationship Id="rId46" Type="http://schemas.openxmlformats.org/officeDocument/2006/relationships/slideLayout" Target="../slideLayouts/slideLayout110.xml"/><Relationship Id="rId59" Type="http://schemas.openxmlformats.org/officeDocument/2006/relationships/theme" Target="../theme/theme8.xml"/><Relationship Id="rId20" Type="http://schemas.openxmlformats.org/officeDocument/2006/relationships/slideLayout" Target="../slideLayouts/slideLayout84.xml"/><Relationship Id="rId41" Type="http://schemas.openxmlformats.org/officeDocument/2006/relationships/slideLayout" Target="../slideLayouts/slideLayout105.xml"/><Relationship Id="rId54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slideLayout" Target="../slideLayouts/slideLayout100.xml"/><Relationship Id="rId49" Type="http://schemas.openxmlformats.org/officeDocument/2006/relationships/slideLayout" Target="../slideLayouts/slideLayout113.xml"/><Relationship Id="rId57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95.xml"/><Relationship Id="rId44" Type="http://schemas.openxmlformats.org/officeDocument/2006/relationships/slideLayout" Target="../slideLayouts/slideLayout108.xml"/><Relationship Id="rId52" Type="http://schemas.openxmlformats.org/officeDocument/2006/relationships/slideLayout" Target="../slideLayouts/slideLayout116.xml"/><Relationship Id="rId60" Type="http://schemas.openxmlformats.org/officeDocument/2006/relationships/image" Target="../media/image9.png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34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29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36" Type="http://schemas.openxmlformats.org/officeDocument/2006/relationships/theme" Target="../theme/theme9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30" Type="http://schemas.openxmlformats.org/officeDocument/2006/relationships/slideLayout" Target="../slideLayouts/slideLayout152.xml"/><Relationship Id="rId35" Type="http://schemas.openxmlformats.org/officeDocument/2006/relationships/slideLayout" Target="../slideLayouts/slideLayout157.xml"/><Relationship Id="rId8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CE15691-2C17-8F4E-AC14-E28EE41B9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404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</p:sldLayoutIdLst>
  <p:hf hdr="0" dt="0"/>
  <p:txStyles>
    <p:titleStyle>
      <a:lvl1pPr algn="l" defTabSz="731520" rtl="0" eaLnBrk="1" latinLnBrk="0" hangingPunct="1">
        <a:lnSpc>
          <a:spcPct val="90000"/>
        </a:lnSpc>
        <a:spcBef>
          <a:spcPct val="0"/>
        </a:spcBef>
        <a:buNone/>
        <a:defRPr sz="6000" b="1" i="0" kern="1200">
          <a:solidFill>
            <a:schemeClr val="bg1"/>
          </a:solidFill>
          <a:latin typeface="Museo Sans 700" panose="02000000000000000000" pitchFamily="2" charset="77"/>
          <a:ea typeface="+mj-ea"/>
          <a:cs typeface="Arial" panose="020B0604020202020204" pitchFamily="34" charset="0"/>
        </a:defRPr>
      </a:lvl1pPr>
    </p:titleStyle>
    <p:bodyStyle>
      <a:lvl1pPr marL="274320" indent="-274320" algn="l" defTabSz="731520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1pPr>
      <a:lvl2pPr marL="731520" indent="-274320" algn="l" defTabSz="731520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2pPr>
      <a:lvl3pPr marL="1188720" indent="-274320" algn="l" defTabSz="731520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3pPr>
      <a:lvl4pPr marL="2560320" indent="-365760" algn="l" defTabSz="731520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840" indent="-365760" algn="l" defTabSz="731520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336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88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40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92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F26B43"/>
          </p15:clr>
        </p15:guide>
        <p15:guide id="2" pos="412">
          <p15:clr>
            <a:srgbClr val="F26B43"/>
          </p15:clr>
        </p15:guide>
        <p15:guide id="3" pos="8801">
          <p15:clr>
            <a:srgbClr val="F26B43"/>
          </p15:clr>
        </p15:guide>
        <p15:guide id="4" orient="horz" pos="2592">
          <p15:clr>
            <a:srgbClr val="F26B43"/>
          </p15:clr>
        </p15:guide>
        <p15:guide id="5" orient="horz" pos="455">
          <p15:clr>
            <a:srgbClr val="F26B43"/>
          </p15:clr>
        </p15:guide>
        <p15:guide id="7" pos="4495">
          <p15:clr>
            <a:srgbClr val="F26B43"/>
          </p15:clr>
        </p15:guide>
        <p15:guide id="8" pos="4721">
          <p15:clr>
            <a:srgbClr val="F26B43"/>
          </p15:clr>
        </p15:guide>
        <p15:guide id="9" orient="horz" pos="4633">
          <p15:clr>
            <a:srgbClr val="F26B43"/>
          </p15:clr>
        </p15:guide>
        <p15:guide id="10" orient="horz" pos="4928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CE15691-2C17-8F4E-AC14-E28EE41B9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899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5" r:id="rId1"/>
    <p:sldLayoutId id="2147484466" r:id="rId2"/>
    <p:sldLayoutId id="2147484467" r:id="rId3"/>
    <p:sldLayoutId id="2147484468" r:id="rId4"/>
    <p:sldLayoutId id="2147484469" r:id="rId5"/>
    <p:sldLayoutId id="2147484470" r:id="rId6"/>
    <p:sldLayoutId id="2147484471" r:id="rId7"/>
    <p:sldLayoutId id="2147484472" r:id="rId8"/>
    <p:sldLayoutId id="2147484473" r:id="rId9"/>
    <p:sldLayoutId id="2147484474" r:id="rId10"/>
    <p:sldLayoutId id="2147484475" r:id="rId11"/>
    <p:sldLayoutId id="2147484476" r:id="rId12"/>
    <p:sldLayoutId id="2147484477" r:id="rId13"/>
    <p:sldLayoutId id="2147484478" r:id="rId14"/>
    <p:sldLayoutId id="2147484479" r:id="rId15"/>
    <p:sldLayoutId id="2147484480" r:id="rId16"/>
    <p:sldLayoutId id="2147484481" r:id="rId17"/>
    <p:sldLayoutId id="2147484482" r:id="rId18"/>
    <p:sldLayoutId id="2147484483" r:id="rId19"/>
    <p:sldLayoutId id="2147484484" r:id="rId20"/>
    <p:sldLayoutId id="2147484485" r:id="rId21"/>
    <p:sldLayoutId id="2147484486" r:id="rId22"/>
    <p:sldLayoutId id="2147484487" r:id="rId23"/>
    <p:sldLayoutId id="2147484488" r:id="rId24"/>
    <p:sldLayoutId id="2147484489" r:id="rId25"/>
    <p:sldLayoutId id="2147484490" r:id="rId26"/>
    <p:sldLayoutId id="2147484491" r:id="rId27"/>
    <p:sldLayoutId id="2147484492" r:id="rId28"/>
    <p:sldLayoutId id="2147484494" r:id="rId29"/>
    <p:sldLayoutId id="2147484495" r:id="rId30"/>
  </p:sldLayoutIdLst>
  <p:hf hdr="0" dt="0"/>
  <p:txStyles>
    <p:titleStyle>
      <a:lvl1pPr algn="l" defTabSz="731520" rtl="0" eaLnBrk="1" latinLnBrk="0" hangingPunct="1">
        <a:lnSpc>
          <a:spcPct val="90000"/>
        </a:lnSpc>
        <a:spcBef>
          <a:spcPct val="0"/>
        </a:spcBef>
        <a:buNone/>
        <a:defRPr sz="6000" b="1" i="0" kern="1200">
          <a:solidFill>
            <a:schemeClr val="bg1"/>
          </a:solidFill>
          <a:latin typeface="Museo Sans 700" panose="02000000000000000000" pitchFamily="2" charset="77"/>
          <a:ea typeface="+mj-ea"/>
          <a:cs typeface="Arial" panose="020B0604020202020204" pitchFamily="34" charset="0"/>
        </a:defRPr>
      </a:lvl1pPr>
    </p:titleStyle>
    <p:bodyStyle>
      <a:lvl1pPr marL="274320" indent="-274320" algn="l" defTabSz="731520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1pPr>
      <a:lvl2pPr marL="731520" indent="-274320" algn="l" defTabSz="731520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2pPr>
      <a:lvl3pPr marL="1188720" indent="-274320" algn="l" defTabSz="731520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3pPr>
      <a:lvl4pPr marL="2560320" indent="-365760" algn="l" defTabSz="731520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840" indent="-365760" algn="l" defTabSz="731520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336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88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40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92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F26B43"/>
          </p15:clr>
        </p15:guide>
        <p15:guide id="2" pos="412">
          <p15:clr>
            <a:srgbClr val="F26B43"/>
          </p15:clr>
        </p15:guide>
        <p15:guide id="3" pos="8801">
          <p15:clr>
            <a:srgbClr val="F26B43"/>
          </p15:clr>
        </p15:guide>
        <p15:guide id="4" orient="horz" pos="2592">
          <p15:clr>
            <a:srgbClr val="F26B43"/>
          </p15:clr>
        </p15:guide>
        <p15:guide id="5" orient="horz" pos="455">
          <p15:clr>
            <a:srgbClr val="F26B43"/>
          </p15:clr>
        </p15:guide>
        <p15:guide id="7" pos="4495">
          <p15:clr>
            <a:srgbClr val="F26B43"/>
          </p15:clr>
        </p15:guide>
        <p15:guide id="8" pos="4721">
          <p15:clr>
            <a:srgbClr val="F26B43"/>
          </p15:clr>
        </p15:guide>
        <p15:guide id="9" orient="horz" pos="4633">
          <p15:clr>
            <a:srgbClr val="F26B43"/>
          </p15:clr>
        </p15:guide>
        <p15:guide id="10" orient="horz" pos="492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CE15691-2C17-8F4E-AC14-E28EE41B9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1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036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  <p:sldLayoutId id="2147484122" r:id="rId4"/>
    <p:sldLayoutId id="2147484125" r:id="rId5"/>
    <p:sldLayoutId id="2147484126" r:id="rId6"/>
    <p:sldLayoutId id="2147484127" r:id="rId7"/>
    <p:sldLayoutId id="2147484128" r:id="rId8"/>
    <p:sldLayoutId id="2147484129" r:id="rId9"/>
    <p:sldLayoutId id="2147484130" r:id="rId10"/>
    <p:sldLayoutId id="2147484131" r:id="rId11"/>
    <p:sldLayoutId id="2147484132" r:id="rId12"/>
    <p:sldLayoutId id="2147484133" r:id="rId13"/>
    <p:sldLayoutId id="2147484138" r:id="rId14"/>
    <p:sldLayoutId id="2147484139" r:id="rId15"/>
    <p:sldLayoutId id="2147484140" r:id="rId16"/>
    <p:sldLayoutId id="2147484141" r:id="rId17"/>
    <p:sldLayoutId id="2147484142" r:id="rId18"/>
    <p:sldLayoutId id="2147484151" r:id="rId19"/>
    <p:sldLayoutId id="2147484152" r:id="rId20"/>
    <p:sldLayoutId id="2147484153" r:id="rId21"/>
    <p:sldLayoutId id="2147484496" r:id="rId22"/>
  </p:sldLayoutIdLst>
  <p:hf hdr="0" dt="0"/>
  <p:txStyles>
    <p:titleStyle>
      <a:lvl1pPr algn="l" defTabSz="731491" rtl="0" eaLnBrk="1" latinLnBrk="0" hangingPunct="1">
        <a:lnSpc>
          <a:spcPct val="90000"/>
        </a:lnSpc>
        <a:spcBef>
          <a:spcPct val="0"/>
        </a:spcBef>
        <a:buNone/>
        <a:defRPr sz="6000" b="1" i="0" kern="1200">
          <a:solidFill>
            <a:schemeClr val="bg1"/>
          </a:solidFill>
          <a:latin typeface="Museo Sans 700" panose="02000000000000000000" pitchFamily="2" charset="77"/>
          <a:ea typeface="+mj-ea"/>
          <a:cs typeface="Arial" panose="020B0604020202020204" pitchFamily="34" charset="0"/>
        </a:defRPr>
      </a:lvl1pPr>
    </p:titleStyle>
    <p:bodyStyle>
      <a:lvl1pPr marL="274309" indent="-274309" algn="l" defTabSz="731491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1pPr>
      <a:lvl2pPr marL="731491" indent="-274309" algn="l" defTabSz="731491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2pPr>
      <a:lvl3pPr marL="1188672" indent="-274309" algn="l" defTabSz="731491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3pPr>
      <a:lvl4pPr marL="2560218" indent="-365746" algn="l" defTabSz="731491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708" indent="-365746" algn="l" defTabSz="731491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3199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690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180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672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491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981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472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2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454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945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435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926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F26B43"/>
          </p15:clr>
        </p15:guide>
        <p15:guide id="2" pos="412">
          <p15:clr>
            <a:srgbClr val="F26B43"/>
          </p15:clr>
        </p15:guide>
        <p15:guide id="3" pos="8801">
          <p15:clr>
            <a:srgbClr val="F26B43"/>
          </p15:clr>
        </p15:guide>
        <p15:guide id="4" orient="horz" pos="2592">
          <p15:clr>
            <a:srgbClr val="F26B43"/>
          </p15:clr>
        </p15:guide>
        <p15:guide id="5" orient="horz" pos="455">
          <p15:clr>
            <a:srgbClr val="F26B43"/>
          </p15:clr>
        </p15:guide>
        <p15:guide id="7" pos="4495">
          <p15:clr>
            <a:srgbClr val="F26B43"/>
          </p15:clr>
        </p15:guide>
        <p15:guide id="8" pos="4721">
          <p15:clr>
            <a:srgbClr val="F26B43"/>
          </p15:clr>
        </p15:guide>
        <p15:guide id="9" orient="horz" pos="4633">
          <p15:clr>
            <a:srgbClr val="F26B43"/>
          </p15:clr>
        </p15:guide>
        <p15:guide id="10" orient="horz" pos="492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50BB3F7-A046-9C2E-3CE7-948B9BCC59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20221746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0BB3F7-A046-9C2E-3CE7-948B9BCC5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CE15691-2C17-8F4E-AC14-E28EE41B9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1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497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</p:sldLayoutIdLst>
  <p:hf hdr="0" dt="0"/>
  <p:txStyles>
    <p:titleStyle>
      <a:lvl1pPr algn="l" defTabSz="731461" rtl="0" eaLnBrk="1" latinLnBrk="0" hangingPunct="1">
        <a:lnSpc>
          <a:spcPct val="90000"/>
        </a:lnSpc>
        <a:spcBef>
          <a:spcPct val="0"/>
        </a:spcBef>
        <a:buNone/>
        <a:defRPr sz="6000" b="1" i="0" kern="1200">
          <a:solidFill>
            <a:schemeClr val="bg1"/>
          </a:solidFill>
          <a:latin typeface="Museo Sans 700" panose="02000000000000000000" pitchFamily="2" charset="77"/>
          <a:ea typeface="+mj-ea"/>
          <a:cs typeface="Arial" panose="020B0604020202020204" pitchFamily="34" charset="0"/>
        </a:defRPr>
      </a:lvl1pPr>
    </p:titleStyle>
    <p:bodyStyle>
      <a:lvl1pPr marL="274298" indent="-274298" algn="l" defTabSz="731461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1pPr>
      <a:lvl2pPr marL="731461" indent="-274298" algn="l" defTabSz="731461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2pPr>
      <a:lvl3pPr marL="1188624" indent="-274298" algn="l" defTabSz="731461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3pPr>
      <a:lvl4pPr marL="2560116" indent="-365731" algn="l" defTabSz="731461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576" indent="-365731" algn="l" defTabSz="731461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3038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500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5961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423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461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922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385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845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307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770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230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692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F26B43"/>
          </p15:clr>
        </p15:guide>
        <p15:guide id="2" pos="412">
          <p15:clr>
            <a:srgbClr val="F26B43"/>
          </p15:clr>
        </p15:guide>
        <p15:guide id="3" pos="8801">
          <p15:clr>
            <a:srgbClr val="F26B43"/>
          </p15:clr>
        </p15:guide>
        <p15:guide id="4" orient="horz" pos="2592">
          <p15:clr>
            <a:srgbClr val="F26B43"/>
          </p15:clr>
        </p15:guide>
        <p15:guide id="5" orient="horz" pos="455">
          <p15:clr>
            <a:srgbClr val="F26B43"/>
          </p15:clr>
        </p15:guide>
        <p15:guide id="7" pos="4495">
          <p15:clr>
            <a:srgbClr val="F26B43"/>
          </p15:clr>
        </p15:guide>
        <p15:guide id="8" pos="4721">
          <p15:clr>
            <a:srgbClr val="F26B43"/>
          </p15:clr>
        </p15:guide>
        <p15:guide id="9" orient="horz" pos="4633">
          <p15:clr>
            <a:srgbClr val="F26B43"/>
          </p15:clr>
        </p15:guide>
        <p15:guide id="10" orient="horz" pos="492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88" y="731520"/>
            <a:ext cx="13290350" cy="625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87" y="1676400"/>
            <a:ext cx="13290352" cy="5431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EEDB9B9-FEC0-441E-AADE-1E94BE33A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4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/>
              <a:t>© 2023 Medecision, Inc. Proprietary and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54E49D-33A6-4A33-AB48-EE5139E6C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1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E34825B-E99C-BC42-4128-F5DD6B05F7D2}"/>
              </a:ext>
            </a:extLst>
          </p:cNvPr>
          <p:cNvCxnSpPr>
            <a:cxnSpLocks/>
          </p:cNvCxnSpPr>
          <p:nvPr userDrawn="1"/>
        </p:nvCxnSpPr>
        <p:spPr>
          <a:xfrm>
            <a:off x="2714626" y="7664592"/>
            <a:ext cx="11253311" cy="0"/>
          </a:xfrm>
          <a:prstGeom prst="line">
            <a:avLst/>
          </a:prstGeom>
          <a:ln w="12700" cap="rnd">
            <a:solidFill>
              <a:schemeClr val="bg1"/>
            </a:solidFill>
            <a:prstDash val="solid"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910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48" r:id="rId2"/>
  </p:sldLayoutIdLst>
  <p:hf hdr="0" dt="0"/>
  <p:txStyles>
    <p:titleStyle>
      <a:lvl1pPr algn="l" defTabSz="731491" rtl="0" eaLnBrk="1" latinLnBrk="0" hangingPunct="1">
        <a:lnSpc>
          <a:spcPct val="90000"/>
        </a:lnSpc>
        <a:spcBef>
          <a:spcPct val="0"/>
        </a:spcBef>
        <a:buNone/>
        <a:defRPr sz="4200" b="1" kern="1200">
          <a:solidFill>
            <a:schemeClr val="accent3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74309" indent="-274309" algn="l" defTabSz="731491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1pPr>
      <a:lvl2pPr marL="731491" indent="-274309" algn="l" defTabSz="731491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2pPr>
      <a:lvl3pPr marL="1188672" indent="-274309" algn="l" defTabSz="731491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3pPr>
      <a:lvl4pPr marL="2560218" indent="-365746" algn="l" defTabSz="731491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708" indent="-365746" algn="l" defTabSz="731491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3199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690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180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672" indent="-365746" algn="l" defTabSz="73149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491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981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472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2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454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945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435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926" algn="l" defTabSz="73149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F26B43"/>
          </p15:clr>
        </p15:guide>
        <p15:guide id="2" pos="412">
          <p15:clr>
            <a:srgbClr val="F26B43"/>
          </p15:clr>
        </p15:guide>
        <p15:guide id="3" pos="8801">
          <p15:clr>
            <a:srgbClr val="F26B43"/>
          </p15:clr>
        </p15:guide>
        <p15:guide id="4" orient="horz" pos="2592">
          <p15:clr>
            <a:srgbClr val="F26B43"/>
          </p15:clr>
        </p15:guide>
        <p15:guide id="5" orient="horz" pos="455">
          <p15:clr>
            <a:srgbClr val="F26B43"/>
          </p15:clr>
        </p15:guide>
        <p15:guide id="7" pos="4495">
          <p15:clr>
            <a:srgbClr val="F26B43"/>
          </p15:clr>
        </p15:guide>
        <p15:guide id="8" pos="472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03635F-C2DE-F2AD-F876-98D5D198E4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217575513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04" imgH="405" progId="TCLayout.ActiveDocument.1">
                  <p:embed/>
                </p:oleObj>
              </mc:Choice>
              <mc:Fallback>
                <p:oleObj name="think-cell Slide" r:id="rId34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03635F-C2DE-F2AD-F876-98D5D198E4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CE15691-2C17-8F4E-AC14-E28EE41B9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1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014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5" r:id="rId1"/>
    <p:sldLayoutId id="2147484256" r:id="rId2"/>
    <p:sldLayoutId id="2147484257" r:id="rId3"/>
    <p:sldLayoutId id="2147484258" r:id="rId4"/>
    <p:sldLayoutId id="2147484260" r:id="rId5"/>
    <p:sldLayoutId id="2147484261" r:id="rId6"/>
    <p:sldLayoutId id="2147484262" r:id="rId7"/>
    <p:sldLayoutId id="2147484263" r:id="rId8"/>
    <p:sldLayoutId id="2147484264" r:id="rId9"/>
    <p:sldLayoutId id="2147484265" r:id="rId10"/>
    <p:sldLayoutId id="2147484266" r:id="rId11"/>
    <p:sldLayoutId id="2147484267" r:id="rId12"/>
    <p:sldLayoutId id="2147484268" r:id="rId13"/>
    <p:sldLayoutId id="2147484269" r:id="rId14"/>
    <p:sldLayoutId id="2147484270" r:id="rId15"/>
    <p:sldLayoutId id="2147484271" r:id="rId16"/>
    <p:sldLayoutId id="2147484272" r:id="rId17"/>
    <p:sldLayoutId id="2147484274" r:id="rId18"/>
    <p:sldLayoutId id="2147484367" r:id="rId19"/>
    <p:sldLayoutId id="2147484275" r:id="rId20"/>
    <p:sldLayoutId id="2147484276" r:id="rId21"/>
    <p:sldLayoutId id="2147484277" r:id="rId22"/>
    <p:sldLayoutId id="2147484278" r:id="rId23"/>
    <p:sldLayoutId id="2147484368" r:id="rId24"/>
    <p:sldLayoutId id="2147484279" r:id="rId25"/>
    <p:sldLayoutId id="2147484280" r:id="rId26"/>
    <p:sldLayoutId id="2147484281" r:id="rId27"/>
    <p:sldLayoutId id="2147484282" r:id="rId28"/>
    <p:sldLayoutId id="2147484283" r:id="rId29"/>
    <p:sldLayoutId id="2147484284" r:id="rId30"/>
    <p:sldLayoutId id="2147484497" r:id="rId31"/>
  </p:sldLayoutIdLst>
  <p:hf hdr="0" dt="0"/>
  <p:txStyles>
    <p:titleStyle>
      <a:lvl1pPr algn="l" defTabSz="731461" rtl="0" eaLnBrk="1" latinLnBrk="0" hangingPunct="1">
        <a:lnSpc>
          <a:spcPct val="90000"/>
        </a:lnSpc>
        <a:spcBef>
          <a:spcPct val="0"/>
        </a:spcBef>
        <a:buNone/>
        <a:defRPr sz="6000" b="1" i="0" kern="1200">
          <a:solidFill>
            <a:schemeClr val="bg1"/>
          </a:solidFill>
          <a:latin typeface="Museo Sans 700" panose="02000000000000000000" pitchFamily="2" charset="77"/>
          <a:ea typeface="+mj-ea"/>
          <a:cs typeface="Arial" panose="020B0604020202020204" pitchFamily="34" charset="0"/>
        </a:defRPr>
      </a:lvl1pPr>
    </p:titleStyle>
    <p:bodyStyle>
      <a:lvl1pPr marL="274298" indent="-274298" algn="l" defTabSz="731461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1pPr>
      <a:lvl2pPr marL="731461" indent="-274298" algn="l" defTabSz="731461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2pPr>
      <a:lvl3pPr marL="1188624" indent="-274298" algn="l" defTabSz="731461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3pPr>
      <a:lvl4pPr marL="2560116" indent="-365731" algn="l" defTabSz="731461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576" indent="-365731" algn="l" defTabSz="731461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3038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500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5961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423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461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922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385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845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307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770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230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692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F26B43"/>
          </p15:clr>
        </p15:guide>
        <p15:guide id="2" pos="412">
          <p15:clr>
            <a:srgbClr val="F26B43"/>
          </p15:clr>
        </p15:guide>
        <p15:guide id="3" pos="8801">
          <p15:clr>
            <a:srgbClr val="F26B43"/>
          </p15:clr>
        </p15:guide>
        <p15:guide id="4" orient="horz" pos="2592">
          <p15:clr>
            <a:srgbClr val="F26B43"/>
          </p15:clr>
        </p15:guide>
        <p15:guide id="5" orient="horz" pos="455">
          <p15:clr>
            <a:srgbClr val="F26B43"/>
          </p15:clr>
        </p15:guide>
        <p15:guide id="7" pos="4495">
          <p15:clr>
            <a:srgbClr val="F26B43"/>
          </p15:clr>
        </p15:guide>
        <p15:guide id="8" pos="4721">
          <p15:clr>
            <a:srgbClr val="F26B43"/>
          </p15:clr>
        </p15:guide>
        <p15:guide id="9" orient="horz" pos="4633">
          <p15:clr>
            <a:srgbClr val="F26B43"/>
          </p15:clr>
        </p15:guide>
        <p15:guide id="10" orient="horz" pos="492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B0ECD04-084E-AD4C-9EFB-73CFCF90E9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297043"/>
              </p:ext>
            </p:extLst>
          </p:nvPr>
        </p:nvGraphicFramePr>
        <p:xfrm>
          <a:off x="1906" y="1905"/>
          <a:ext cx="1472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0ECD04-084E-AD4C-9EFB-73CFCF90E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6" y="1905"/>
                        <a:ext cx="1472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88" y="731520"/>
            <a:ext cx="13290350" cy="625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87" y="1676400"/>
            <a:ext cx="13290352" cy="5431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EEDB9B9-FEC0-441E-AADE-1E94BE33A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5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+mn-lt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/>
              <a:t>© 2023 Medecision, Inc. Proprietary and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54E49D-33A6-4A33-AB48-EE5139E6C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1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819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</p:sldLayoutIdLst>
  <p:hf hdr="0" dt="0"/>
  <p:txStyles>
    <p:titleStyle>
      <a:lvl1pPr algn="l" defTabSz="731431" rtl="0" eaLnBrk="1" latinLnBrk="0" hangingPunct="1">
        <a:lnSpc>
          <a:spcPct val="90000"/>
        </a:lnSpc>
        <a:spcBef>
          <a:spcPct val="0"/>
        </a:spcBef>
        <a:buNone/>
        <a:defRPr sz="4200" b="1" kern="1200">
          <a:solidFill>
            <a:schemeClr val="accent3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74288" indent="-274288" algn="l" defTabSz="731431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1pPr>
      <a:lvl2pPr marL="731431" indent="-274288" algn="l" defTabSz="731431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2pPr>
      <a:lvl3pPr marL="1188576" indent="-274288" algn="l" defTabSz="731431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3pPr>
      <a:lvl4pPr marL="2560014" indent="-365717" algn="l" defTabSz="731431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444" indent="-365717" algn="l" defTabSz="731431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2878" indent="-365717" algn="l" defTabSz="73143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310" indent="-365717" algn="l" defTabSz="73143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5741" indent="-365717" algn="l" defTabSz="73143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175" indent="-365717" algn="l" defTabSz="73143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43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431" algn="l" defTabSz="73143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864" algn="l" defTabSz="73143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297" algn="l" defTabSz="73143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728" algn="l" defTabSz="73143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161" algn="l" defTabSz="73143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594" algn="l" defTabSz="73143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026" algn="l" defTabSz="73143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458" algn="l" defTabSz="73143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8801">
          <p15:clr>
            <a:srgbClr val="F26B43"/>
          </p15:clr>
        </p15:guide>
        <p15:guide id="4" pos="347">
          <p15:clr>
            <a:srgbClr val="F26B43"/>
          </p15:clr>
        </p15:guide>
        <p15:guide id="5" pos="7333">
          <p15:clr>
            <a:srgbClr val="F26B43"/>
          </p15:clr>
        </p15:guide>
        <p15:guide id="7" orient="horz" pos="890">
          <p15:clr>
            <a:srgbClr val="F26B43"/>
          </p15:clr>
        </p15:guide>
        <p15:guide id="8" orient="horz" pos="70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68A9E94-4050-58F9-E9E0-8D44CBC29A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479597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8A9E94-4050-58F9-E9E0-8D44CBC29A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CE15691-2C17-8F4E-AC14-E28EE41B9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1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17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60" r:id="rId2"/>
    <p:sldLayoutId id="2147484366" r:id="rId3"/>
  </p:sldLayoutIdLst>
  <p:hf hdr="0" dt="0"/>
  <p:txStyles>
    <p:titleStyle>
      <a:lvl1pPr algn="l" defTabSz="731461" rtl="0" eaLnBrk="1" latinLnBrk="0" hangingPunct="1">
        <a:lnSpc>
          <a:spcPct val="90000"/>
        </a:lnSpc>
        <a:spcBef>
          <a:spcPct val="0"/>
        </a:spcBef>
        <a:buNone/>
        <a:defRPr sz="6000" b="1" i="0" kern="1200">
          <a:solidFill>
            <a:schemeClr val="bg1"/>
          </a:solidFill>
          <a:latin typeface="Museo Sans 700" panose="02000000000000000000" pitchFamily="2" charset="77"/>
          <a:ea typeface="+mj-ea"/>
          <a:cs typeface="Arial" panose="020B0604020202020204" pitchFamily="34" charset="0"/>
        </a:defRPr>
      </a:lvl1pPr>
    </p:titleStyle>
    <p:bodyStyle>
      <a:lvl1pPr marL="274298" indent="-274298" algn="l" defTabSz="731461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1pPr>
      <a:lvl2pPr marL="731461" indent="-274298" algn="l" defTabSz="731461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2pPr>
      <a:lvl3pPr marL="1188624" indent="-274298" algn="l" defTabSz="731461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3pPr>
      <a:lvl4pPr marL="2560116" indent="-365731" algn="l" defTabSz="731461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576" indent="-365731" algn="l" defTabSz="731461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3038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500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5961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423" indent="-365731" algn="l" defTabSz="731461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461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922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385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845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307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770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230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692" algn="l" defTabSz="731461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F26B43"/>
          </p15:clr>
        </p15:guide>
        <p15:guide id="2" pos="412">
          <p15:clr>
            <a:srgbClr val="F26B43"/>
          </p15:clr>
        </p15:guide>
        <p15:guide id="3" pos="8801">
          <p15:clr>
            <a:srgbClr val="F26B43"/>
          </p15:clr>
        </p15:guide>
        <p15:guide id="4" orient="horz" pos="2592">
          <p15:clr>
            <a:srgbClr val="F26B43"/>
          </p15:clr>
        </p15:guide>
        <p15:guide id="5" orient="horz" pos="455">
          <p15:clr>
            <a:srgbClr val="F26B43"/>
          </p15:clr>
        </p15:guide>
        <p15:guide id="7" pos="4495">
          <p15:clr>
            <a:srgbClr val="F26B43"/>
          </p15:clr>
        </p15:guide>
        <p15:guide id="8" pos="4721">
          <p15:clr>
            <a:srgbClr val="F26B43"/>
          </p15:clr>
        </p15:guide>
        <p15:guide id="9" orient="horz" pos="4633">
          <p15:clr>
            <a:srgbClr val="F26B43"/>
          </p15:clr>
        </p15:guide>
        <p15:guide id="10" orient="horz" pos="492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88" y="731520"/>
            <a:ext cx="13290350" cy="6253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87" y="1676400"/>
            <a:ext cx="13290351" cy="54311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EEDB9B9-FEC0-441E-AADE-1E94BE33A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01013" y="7740503"/>
            <a:ext cx="5355173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</a:lstStyle>
          <a:p>
            <a:r>
              <a:rPr lang="en-US" dirty="0" err="1"/>
              <a:t>Medecision</a:t>
            </a:r>
            <a:r>
              <a:rPr lang="en-US" dirty="0"/>
              <a:t> Template Update 2023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54E49D-33A6-4A33-AB48-EE5139E6C5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baseline="0">
                <a:solidFill>
                  <a:schemeClr val="tx2"/>
                </a:solidFill>
                <a:latin typeface="Aerial" panose="00000400000000000000" pitchFamily="2" charset="0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13">
            <a:extLst>
              <a:ext uri="{FF2B5EF4-FFF2-40B4-BE49-F238E27FC236}">
                <a16:creationId xmlns:a16="http://schemas.microsoft.com/office/drawing/2014/main" id="{AC8823AF-C748-113C-8692-9A50BE09C8A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rcRect/>
          <a:stretch/>
        </p:blipFill>
        <p:spPr>
          <a:xfrm>
            <a:off x="640076" y="7547479"/>
            <a:ext cx="1500969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245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0" r:id="rId1"/>
    <p:sldLayoutId id="2147484371" r:id="rId2"/>
    <p:sldLayoutId id="2147484372" r:id="rId3"/>
    <p:sldLayoutId id="2147484373" r:id="rId4"/>
    <p:sldLayoutId id="2147484374" r:id="rId5"/>
    <p:sldLayoutId id="2147484375" r:id="rId6"/>
    <p:sldLayoutId id="2147484376" r:id="rId7"/>
    <p:sldLayoutId id="2147484377" r:id="rId8"/>
    <p:sldLayoutId id="2147484378" r:id="rId9"/>
    <p:sldLayoutId id="2147484379" r:id="rId10"/>
    <p:sldLayoutId id="2147484380" r:id="rId11"/>
    <p:sldLayoutId id="2147484381" r:id="rId12"/>
    <p:sldLayoutId id="2147484382" r:id="rId13"/>
    <p:sldLayoutId id="2147484383" r:id="rId14"/>
    <p:sldLayoutId id="2147484384" r:id="rId15"/>
    <p:sldLayoutId id="2147484385" r:id="rId16"/>
    <p:sldLayoutId id="2147484386" r:id="rId17"/>
    <p:sldLayoutId id="2147484387" r:id="rId18"/>
    <p:sldLayoutId id="2147484388" r:id="rId19"/>
    <p:sldLayoutId id="2147484389" r:id="rId20"/>
    <p:sldLayoutId id="2147484390" r:id="rId21"/>
    <p:sldLayoutId id="2147484391" r:id="rId22"/>
    <p:sldLayoutId id="2147484392" r:id="rId23"/>
    <p:sldLayoutId id="2147484393" r:id="rId24"/>
    <p:sldLayoutId id="2147484394" r:id="rId25"/>
    <p:sldLayoutId id="2147484395" r:id="rId26"/>
    <p:sldLayoutId id="2147484396" r:id="rId27"/>
    <p:sldLayoutId id="2147484397" r:id="rId28"/>
    <p:sldLayoutId id="2147484398" r:id="rId29"/>
    <p:sldLayoutId id="2147484399" r:id="rId30"/>
    <p:sldLayoutId id="2147484400" r:id="rId31"/>
    <p:sldLayoutId id="2147484401" r:id="rId32"/>
    <p:sldLayoutId id="2147484402" r:id="rId33"/>
    <p:sldLayoutId id="2147484403" r:id="rId34"/>
    <p:sldLayoutId id="2147484404" r:id="rId35"/>
    <p:sldLayoutId id="2147484405" r:id="rId36"/>
    <p:sldLayoutId id="2147484406" r:id="rId37"/>
    <p:sldLayoutId id="2147484407" r:id="rId38"/>
    <p:sldLayoutId id="2147484408" r:id="rId39"/>
    <p:sldLayoutId id="2147484409" r:id="rId40"/>
    <p:sldLayoutId id="2147484410" r:id="rId41"/>
    <p:sldLayoutId id="2147484411" r:id="rId42"/>
    <p:sldLayoutId id="2147484412" r:id="rId43"/>
    <p:sldLayoutId id="2147484413" r:id="rId44"/>
    <p:sldLayoutId id="2147484414" r:id="rId45"/>
    <p:sldLayoutId id="2147484415" r:id="rId46"/>
    <p:sldLayoutId id="2147484416" r:id="rId47"/>
    <p:sldLayoutId id="2147484417" r:id="rId48"/>
    <p:sldLayoutId id="2147484418" r:id="rId49"/>
    <p:sldLayoutId id="2147484419" r:id="rId50"/>
    <p:sldLayoutId id="2147484420" r:id="rId51"/>
    <p:sldLayoutId id="2147484421" r:id="rId52"/>
    <p:sldLayoutId id="2147484422" r:id="rId53"/>
    <p:sldLayoutId id="2147484423" r:id="rId54"/>
    <p:sldLayoutId id="2147484424" r:id="rId55"/>
    <p:sldLayoutId id="2147484425" r:id="rId56"/>
    <p:sldLayoutId id="2147484426" r:id="rId57"/>
    <p:sldLayoutId id="2147484427" r:id="rId58"/>
  </p:sldLayoutIdLst>
  <p:hf hdr="0" dt="0"/>
  <p:txStyles>
    <p:titleStyle>
      <a:lvl1pPr algn="l" defTabSz="731520" rtl="0" eaLnBrk="1" latinLnBrk="0" hangingPunct="1">
        <a:lnSpc>
          <a:spcPct val="90000"/>
        </a:lnSpc>
        <a:spcBef>
          <a:spcPct val="0"/>
        </a:spcBef>
        <a:buNone/>
        <a:defRPr sz="4200" b="0" i="0" kern="1200">
          <a:solidFill>
            <a:schemeClr val="accent3"/>
          </a:solidFill>
          <a:latin typeface="Avenir Next Demi Bold" panose="020B0503020202020204" pitchFamily="34" charset="0"/>
          <a:ea typeface="+mj-ea"/>
          <a:cs typeface="Arial" panose="020B0604020202020204" pitchFamily="34" charset="0"/>
        </a:defRPr>
      </a:lvl1pPr>
    </p:titleStyle>
    <p:bodyStyle>
      <a:lvl1pPr marL="274320" indent="-274320" algn="l" defTabSz="731520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b="0" i="0" kern="1200">
          <a:solidFill>
            <a:schemeClr val="tx2"/>
          </a:solidFill>
          <a:latin typeface="Avenir Next" panose="020B0503020202020204" pitchFamily="34" charset="0"/>
          <a:ea typeface="Avenir Next" panose="020B0503020202020204" pitchFamily="34" charset="0"/>
          <a:cs typeface="Arial" charset="0"/>
        </a:defRPr>
      </a:lvl1pPr>
      <a:lvl2pPr marL="731520" indent="-274320" algn="l" defTabSz="731520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b="0" i="0" kern="1200">
          <a:solidFill>
            <a:schemeClr val="tx2"/>
          </a:solidFill>
          <a:latin typeface="Avenir Next" panose="020B0503020202020204" pitchFamily="34" charset="0"/>
          <a:ea typeface="Avenir Next" panose="020B0503020202020204" pitchFamily="34" charset="0"/>
          <a:cs typeface="Arial" charset="0"/>
        </a:defRPr>
      </a:lvl2pPr>
      <a:lvl3pPr marL="1188720" indent="-274320" algn="l" defTabSz="731520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b="0" i="0" kern="1200">
          <a:solidFill>
            <a:schemeClr val="tx2"/>
          </a:solidFill>
          <a:latin typeface="Avenir Next" panose="020B0503020202020204" pitchFamily="34" charset="0"/>
          <a:ea typeface="Avenir Next" panose="020B0503020202020204" pitchFamily="34" charset="0"/>
          <a:cs typeface="Arial" charset="0"/>
        </a:defRPr>
      </a:lvl3pPr>
      <a:lvl4pPr marL="2560320" indent="-365760" algn="l" defTabSz="731520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840" indent="-365760" algn="l" defTabSz="731520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336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88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40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92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F26B43"/>
          </p15:clr>
        </p15:guide>
        <p15:guide id="2" pos="412">
          <p15:clr>
            <a:srgbClr val="F26B43"/>
          </p15:clr>
        </p15:guide>
        <p15:guide id="3" pos="8801">
          <p15:clr>
            <a:srgbClr val="F26B43"/>
          </p15:clr>
        </p15:guide>
        <p15:guide id="4" orient="horz" pos="2592">
          <p15:clr>
            <a:srgbClr val="F26B43"/>
          </p15:clr>
        </p15:guide>
        <p15:guide id="5" orient="horz" pos="455">
          <p15:clr>
            <a:srgbClr val="F26B43"/>
          </p15:clr>
        </p15:guide>
        <p15:guide id="7" pos="4495">
          <p15:clr>
            <a:srgbClr val="F26B43"/>
          </p15:clr>
        </p15:guide>
        <p15:guide id="8" pos="472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CE15691-2C17-8F4E-AC14-E28EE41B97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437330" y="7740503"/>
            <a:ext cx="618545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aseline="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fld id="{B5AF5685-0041-EE47-908D-CBF7B3B584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90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431" r:id="rId3"/>
    <p:sldLayoutId id="2147484432" r:id="rId4"/>
    <p:sldLayoutId id="2147484433" r:id="rId5"/>
    <p:sldLayoutId id="2147484434" r:id="rId6"/>
    <p:sldLayoutId id="2147484435" r:id="rId7"/>
    <p:sldLayoutId id="2147484436" r:id="rId8"/>
    <p:sldLayoutId id="2147484437" r:id="rId9"/>
    <p:sldLayoutId id="2147484438" r:id="rId10"/>
    <p:sldLayoutId id="2147484439" r:id="rId11"/>
    <p:sldLayoutId id="2147484440" r:id="rId12"/>
    <p:sldLayoutId id="2147484441" r:id="rId13"/>
    <p:sldLayoutId id="2147484442" r:id="rId14"/>
    <p:sldLayoutId id="2147484443" r:id="rId15"/>
    <p:sldLayoutId id="2147484444" r:id="rId16"/>
    <p:sldLayoutId id="2147484445" r:id="rId17"/>
    <p:sldLayoutId id="2147484446" r:id="rId18"/>
    <p:sldLayoutId id="2147484447" r:id="rId19"/>
    <p:sldLayoutId id="2147484448" r:id="rId20"/>
    <p:sldLayoutId id="2147484449" r:id="rId21"/>
    <p:sldLayoutId id="2147484450" r:id="rId22"/>
    <p:sldLayoutId id="2147484451" r:id="rId23"/>
    <p:sldLayoutId id="2147484452" r:id="rId24"/>
    <p:sldLayoutId id="2147484453" r:id="rId25"/>
    <p:sldLayoutId id="2147484454" r:id="rId26"/>
    <p:sldLayoutId id="2147484455" r:id="rId27"/>
    <p:sldLayoutId id="2147484456" r:id="rId28"/>
    <p:sldLayoutId id="2147484457" r:id="rId29"/>
    <p:sldLayoutId id="2147484458" r:id="rId30"/>
    <p:sldLayoutId id="2147484459" r:id="rId31"/>
    <p:sldLayoutId id="2147484460" r:id="rId32"/>
    <p:sldLayoutId id="2147484461" r:id="rId33"/>
    <p:sldLayoutId id="2147484462" r:id="rId34"/>
    <p:sldLayoutId id="2147484463" r:id="rId35"/>
  </p:sldLayoutIdLst>
  <p:hf hdr="0" dt="0"/>
  <p:txStyles>
    <p:titleStyle>
      <a:lvl1pPr algn="l" defTabSz="731520" rtl="0" eaLnBrk="1" latinLnBrk="0" hangingPunct="1">
        <a:lnSpc>
          <a:spcPct val="90000"/>
        </a:lnSpc>
        <a:spcBef>
          <a:spcPct val="0"/>
        </a:spcBef>
        <a:buNone/>
        <a:defRPr sz="6000" b="1" i="0" kern="1200">
          <a:solidFill>
            <a:schemeClr val="bg1"/>
          </a:solidFill>
          <a:latin typeface="Museo Sans 700" panose="02000000000000000000" pitchFamily="2" charset="77"/>
          <a:ea typeface="+mj-ea"/>
          <a:cs typeface="Arial" panose="020B0604020202020204" pitchFamily="34" charset="0"/>
        </a:defRPr>
      </a:lvl1pPr>
    </p:titleStyle>
    <p:bodyStyle>
      <a:lvl1pPr marL="274320" indent="-274320" algn="l" defTabSz="731520" rtl="0" eaLnBrk="1" latinLnBrk="0" hangingPunct="1">
        <a:spcBef>
          <a:spcPts val="9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1pPr>
      <a:lvl2pPr marL="731520" indent="-274320" algn="l" defTabSz="731520" rtl="0" eaLnBrk="1" latinLnBrk="0" hangingPunct="1">
        <a:spcBef>
          <a:spcPts val="600"/>
        </a:spcBef>
        <a:buClr>
          <a:schemeClr val="tx1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2pPr>
      <a:lvl3pPr marL="1188720" indent="-274320" algn="l" defTabSz="731520" rtl="0" eaLnBrk="1" latinLnBrk="0" hangingPunct="1">
        <a:spcBef>
          <a:spcPts val="600"/>
        </a:spcBef>
        <a:buClr>
          <a:schemeClr val="tx1"/>
        </a:buClr>
        <a:buFont typeface="Arial"/>
        <a:buChar char="•"/>
        <a:defRPr sz="2000" kern="1200">
          <a:solidFill>
            <a:schemeClr val="tx2"/>
          </a:solidFill>
          <a:latin typeface="+mn-lt"/>
          <a:ea typeface="Arial" panose="020B0604020202020204" pitchFamily="34" charset="0"/>
          <a:cs typeface="Arial" charset="0"/>
        </a:defRPr>
      </a:lvl3pPr>
      <a:lvl4pPr marL="2560320" indent="-365760" algn="l" defTabSz="731520" rtl="0" eaLnBrk="1" latinLnBrk="0" hangingPunct="1">
        <a:spcBef>
          <a:spcPts val="600"/>
        </a:spcBef>
        <a:buFont typeface="Arial"/>
        <a:buChar char="–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3291840" indent="-365760" algn="l" defTabSz="731520" rtl="0" eaLnBrk="1" latinLnBrk="0" hangingPunct="1">
        <a:spcBef>
          <a:spcPts val="600"/>
        </a:spcBef>
        <a:buFont typeface="Arial"/>
        <a:buChar char="»"/>
        <a:defRPr sz="2600" kern="12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02336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88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40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920" indent="-365760" algn="l" defTabSz="73152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73152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08">
          <p15:clr>
            <a:srgbClr val="F26B43"/>
          </p15:clr>
        </p15:guide>
        <p15:guide id="2" pos="412">
          <p15:clr>
            <a:srgbClr val="F26B43"/>
          </p15:clr>
        </p15:guide>
        <p15:guide id="3" pos="8801">
          <p15:clr>
            <a:srgbClr val="F26B43"/>
          </p15:clr>
        </p15:guide>
        <p15:guide id="4" orient="horz" pos="2592">
          <p15:clr>
            <a:srgbClr val="F26B43"/>
          </p15:clr>
        </p15:guide>
        <p15:guide id="5" orient="horz" pos="455">
          <p15:clr>
            <a:srgbClr val="F26B43"/>
          </p15:clr>
        </p15:guide>
        <p15:guide id="7" pos="4495">
          <p15:clr>
            <a:srgbClr val="F26B43"/>
          </p15:clr>
        </p15:guide>
        <p15:guide id="8" pos="4721">
          <p15:clr>
            <a:srgbClr val="F26B43"/>
          </p15:clr>
        </p15:guide>
        <p15:guide id="11" orient="horz" pos="4633">
          <p15:clr>
            <a:srgbClr val="F26B43"/>
          </p15:clr>
        </p15:guide>
        <p15:guide id="12" orient="horz" pos="49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50.png"/><Relationship Id="rId18" Type="http://schemas.openxmlformats.org/officeDocument/2006/relationships/image" Target="../media/image55.svg"/><Relationship Id="rId26" Type="http://schemas.openxmlformats.org/officeDocument/2006/relationships/image" Target="../media/image63.svg"/><Relationship Id="rId3" Type="http://schemas.openxmlformats.org/officeDocument/2006/relationships/image" Target="../media/image42.png"/><Relationship Id="rId21" Type="http://schemas.openxmlformats.org/officeDocument/2006/relationships/image" Target="../media/image58.png"/><Relationship Id="rId7" Type="http://schemas.openxmlformats.org/officeDocument/2006/relationships/image" Target="../media/image16.png"/><Relationship Id="rId12" Type="http://schemas.openxmlformats.org/officeDocument/2006/relationships/image" Target="../media/image49.sv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2" Type="http://schemas.openxmlformats.org/officeDocument/2006/relationships/image" Target="../media/image41.png"/><Relationship Id="rId16" Type="http://schemas.openxmlformats.org/officeDocument/2006/relationships/image" Target="../media/image53.svg"/><Relationship Id="rId20" Type="http://schemas.openxmlformats.org/officeDocument/2006/relationships/image" Target="../media/image57.svg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45.svg"/><Relationship Id="rId11" Type="http://schemas.openxmlformats.org/officeDocument/2006/relationships/image" Target="../media/image48.png"/><Relationship Id="rId24" Type="http://schemas.openxmlformats.org/officeDocument/2006/relationships/image" Target="../media/image61.svg"/><Relationship Id="rId5" Type="http://schemas.openxmlformats.org/officeDocument/2006/relationships/image" Target="../media/image44.png"/><Relationship Id="rId15" Type="http://schemas.openxmlformats.org/officeDocument/2006/relationships/image" Target="../media/image52.png"/><Relationship Id="rId23" Type="http://schemas.openxmlformats.org/officeDocument/2006/relationships/image" Target="../media/image60.png"/><Relationship Id="rId10" Type="http://schemas.openxmlformats.org/officeDocument/2006/relationships/image" Target="../media/image47.svg"/><Relationship Id="rId19" Type="http://schemas.openxmlformats.org/officeDocument/2006/relationships/image" Target="../media/image56.png"/><Relationship Id="rId4" Type="http://schemas.openxmlformats.org/officeDocument/2006/relationships/image" Target="../media/image43.svg"/><Relationship Id="rId9" Type="http://schemas.openxmlformats.org/officeDocument/2006/relationships/image" Target="../media/image46.png"/><Relationship Id="rId14" Type="http://schemas.openxmlformats.org/officeDocument/2006/relationships/image" Target="../media/image51.svg"/><Relationship Id="rId22" Type="http://schemas.openxmlformats.org/officeDocument/2006/relationships/image" Target="../media/image59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12" Type="http://schemas.openxmlformats.org/officeDocument/2006/relationships/image" Target="../media/image7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68.svg"/><Relationship Id="rId11" Type="http://schemas.openxmlformats.org/officeDocument/2006/relationships/image" Target="../media/image73.png"/><Relationship Id="rId5" Type="http://schemas.openxmlformats.org/officeDocument/2006/relationships/image" Target="../media/image67.png"/><Relationship Id="rId10" Type="http://schemas.openxmlformats.org/officeDocument/2006/relationships/image" Target="../media/image72.svg"/><Relationship Id="rId4" Type="http://schemas.openxmlformats.org/officeDocument/2006/relationships/image" Target="../media/image66.svg"/><Relationship Id="rId9" Type="http://schemas.openxmlformats.org/officeDocument/2006/relationships/image" Target="../media/image7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13" Type="http://schemas.openxmlformats.org/officeDocument/2006/relationships/image" Target="../media/image85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12" Type="http://schemas.openxmlformats.org/officeDocument/2006/relationships/image" Target="../media/image84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78.svg"/><Relationship Id="rId11" Type="http://schemas.openxmlformats.org/officeDocument/2006/relationships/image" Target="../media/image83.png"/><Relationship Id="rId5" Type="http://schemas.openxmlformats.org/officeDocument/2006/relationships/image" Target="../media/image77.png"/><Relationship Id="rId10" Type="http://schemas.openxmlformats.org/officeDocument/2006/relationships/image" Target="../media/image82.svg"/><Relationship Id="rId4" Type="http://schemas.openxmlformats.org/officeDocument/2006/relationships/image" Target="../media/image76.svg"/><Relationship Id="rId9" Type="http://schemas.openxmlformats.org/officeDocument/2006/relationships/image" Target="../media/image81.png"/><Relationship Id="rId14" Type="http://schemas.openxmlformats.org/officeDocument/2006/relationships/image" Target="../media/image8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sv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89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8C1B8B-CBD6-1228-841F-86C4B231CB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EBINAR | JUNE 25, 2004</a:t>
            </a:r>
          </a:p>
        </p:txBody>
      </p:sp>
      <p:pic>
        <p:nvPicPr>
          <p:cNvPr id="6" name="Picture 5" descr="A blue background with white text and orange and white text&#10;&#10;Description automatically generated">
            <a:extLst>
              <a:ext uri="{FF2B5EF4-FFF2-40B4-BE49-F238E27FC236}">
                <a16:creationId xmlns:a16="http://schemas.microsoft.com/office/drawing/2014/main" id="{3FADD7F3-7384-5A35-9B06-D439C0F144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4052" y="1468054"/>
            <a:ext cx="7881730" cy="539097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6684757-3C78-D9CF-5613-1EC54644EA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1869" y="1468054"/>
            <a:ext cx="4347589" cy="5791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256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998626E3-5235-91C8-037F-ABD1F3199D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44049" y="308164"/>
            <a:ext cx="1948866" cy="1400236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B1DE648D-EDEF-A78F-ED4F-3C1B557BE016}"/>
              </a:ext>
            </a:extLst>
          </p:cNvPr>
          <p:cNvSpPr txBox="1">
            <a:spLocks/>
          </p:cNvSpPr>
          <p:nvPr/>
        </p:nvSpPr>
        <p:spPr>
          <a:xfrm>
            <a:off x="13342159" y="7707806"/>
            <a:ext cx="618545" cy="18288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r" defTabSz="731520" rtl="0" eaLnBrk="1" latinLnBrk="0" hangingPunct="1">
              <a:defRPr sz="1100" kern="12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3152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04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56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8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12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064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16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31461">
              <a:defRPr/>
            </a:pPr>
            <a:fld id="{B5AF5685-0041-EE47-908D-CBF7B3B5840B}" type="slidenum">
              <a:rPr lang="en-US">
                <a:solidFill>
                  <a:prstClr val="white">
                    <a:lumMod val="50000"/>
                  </a:prstClr>
                </a:solidFill>
              </a:rPr>
              <a:pPr defTabSz="731461">
                <a:defRPr/>
              </a:pPr>
              <a:t>2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C694BE-8235-31BA-28FC-044324CEC6ED}"/>
              </a:ext>
            </a:extLst>
          </p:cNvPr>
          <p:cNvSpPr txBox="1"/>
          <p:nvPr/>
        </p:nvSpPr>
        <p:spPr>
          <a:xfrm>
            <a:off x="-1658039" y="7668440"/>
            <a:ext cx="63126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731461"/>
            <a:r>
              <a:rPr lang="en-US" sz="1100">
                <a:solidFill>
                  <a:prstClr val="white">
                    <a:lumMod val="50000"/>
                  </a:prstClr>
                </a:solidFill>
                <a:latin typeface="Arial" charset="0"/>
                <a:ea typeface="Arial" charset="0"/>
                <a:cs typeface="Arial" charset="0"/>
              </a:rPr>
              <a:t>© 2024 MEDECISION, INC. PROPRIETARY AND CONFIDENTIAL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0647C5C-B6F8-0F09-EC9F-31CF1EEFED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\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BFF2BB3-2E05-178F-FDD3-8113BDEB66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7487" y="4506679"/>
            <a:ext cx="6181726" cy="2873082"/>
          </a:xfrm>
        </p:spPr>
        <p:txBody>
          <a:bodyPr lIns="109728" tIns="54864" rIns="109728" bIns="54864" anchor="t"/>
          <a:lstStyle/>
          <a:p>
            <a:pPr marL="0" indent="0">
              <a:buNone/>
            </a:pPr>
            <a:r>
              <a:rPr lang="en-US" sz="2000" dirty="0">
                <a:solidFill>
                  <a:prstClr val="white"/>
                </a:solidFill>
                <a:latin typeface="+mn-lt"/>
                <a:cs typeface="Arial"/>
              </a:rPr>
              <a:t>Medecision’s cloud-based, data-powered platform enables risk-bearing entities to achieve improved health outcomes, reduced medical and administrative costs, and personalized engagement.</a:t>
            </a:r>
            <a:endParaRPr lang="en-US" sz="2000" kern="100" dirty="0">
              <a:solidFill>
                <a:prstClr val="white"/>
              </a:solidFill>
              <a:latin typeface="+mn-lt"/>
              <a:ea typeface="Calibri" panose="020F0502020204030204" pitchFamily="34" charset="0"/>
              <a:cs typeface="Arial"/>
            </a:endParaRPr>
          </a:p>
          <a:p>
            <a:pPr marL="273547" indent="-273547"/>
            <a:endParaRPr lang="en-US" sz="1050" dirty="0">
              <a:latin typeface="+mn-lt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C3F3714-39F1-F03C-1F3F-367F538776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794623" y="1091227"/>
            <a:ext cx="6181726" cy="509693"/>
          </a:xfrm>
        </p:spPr>
        <p:txBody>
          <a:bodyPr/>
          <a:lstStyle/>
          <a:p>
            <a:r>
              <a:rPr lang="en-US" sz="2400" b="1" dirty="0">
                <a:latin typeface="+mn-lt"/>
                <a:cs typeface="Arial" charset="0"/>
              </a:rPr>
              <a:t>Proven value delivered to 35 million lives</a:t>
            </a:r>
            <a:endParaRPr lang="en-US" sz="2400" dirty="0">
              <a:latin typeface="+mn-lt"/>
              <a:cs typeface="Arial" charset="0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47E0506-54C2-A251-5ACD-7AD01CB7681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11187" y="1656682"/>
            <a:ext cx="6181726" cy="3824359"/>
          </a:xfrm>
        </p:spPr>
        <p:txBody>
          <a:bodyPr lIns="109728" tIns="54864" rIns="109728" bIns="54864" anchor="t"/>
          <a:lstStyle/>
          <a:p>
            <a:pPr marL="284977" indent="-284977">
              <a:buFont typeface="Arial" panose="020B0604020202020204" pitchFamily="34" charset="0"/>
              <a:buChar char="•"/>
              <a:defRPr/>
            </a:pPr>
            <a:r>
              <a:rPr lang="en-US" sz="1680" b="1" dirty="0">
                <a:solidFill>
                  <a:schemeClr val="accent1"/>
                </a:solidFill>
                <a:latin typeface="+mn-lt"/>
              </a:rPr>
              <a:t>Improved Health Outcomes</a:t>
            </a:r>
            <a:r>
              <a:rPr lang="en-US" sz="1680" dirty="0">
                <a:solidFill>
                  <a:srgbClr val="212121"/>
                </a:solidFill>
                <a:latin typeface="+mn-lt"/>
              </a:rPr>
              <a:t>:  over 35% completion of goals and behaviors changed</a:t>
            </a:r>
            <a:endParaRPr lang="en-US" dirty="0">
              <a:latin typeface="+mn-lt"/>
            </a:endParaRP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r>
              <a:rPr lang="en-US" sz="1680" b="1" dirty="0">
                <a:solidFill>
                  <a:schemeClr val="accent1"/>
                </a:solidFill>
                <a:latin typeface="+mn-lt"/>
              </a:rPr>
              <a:t>Optimized Medical Costs</a:t>
            </a:r>
            <a:r>
              <a:rPr lang="en-US" sz="1680" dirty="0">
                <a:solidFill>
                  <a:srgbClr val="A20055"/>
                </a:solidFill>
                <a:latin typeface="+mn-lt"/>
              </a:rPr>
              <a:t>: </a:t>
            </a:r>
            <a:r>
              <a:rPr lang="en-US" sz="1680" dirty="0">
                <a:solidFill>
                  <a:srgbClr val="212121"/>
                </a:solidFill>
                <a:latin typeface="+mn-lt"/>
              </a:rPr>
              <a:t>15% reduction in ER visits</a:t>
            </a: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r>
              <a:rPr lang="en-US" sz="1680" b="1" dirty="0">
                <a:solidFill>
                  <a:schemeClr val="accent1"/>
                </a:solidFill>
                <a:latin typeface="+mn-lt"/>
              </a:rPr>
              <a:t>Reduced Administrative Costs</a:t>
            </a:r>
            <a:r>
              <a:rPr lang="en-US" sz="1680" dirty="0">
                <a:solidFill>
                  <a:srgbClr val="212121"/>
                </a:solidFill>
                <a:latin typeface="+mn-lt"/>
              </a:rPr>
              <a:t>:  Decreased implementation times of 4x and increase clinical staff efficiency by 50%</a:t>
            </a: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r>
              <a:rPr lang="en-US" sz="1680" b="1" dirty="0">
                <a:solidFill>
                  <a:schemeClr val="accent1"/>
                </a:solidFill>
                <a:latin typeface="+mn-lt"/>
                <a:cs typeface="Arial"/>
              </a:rPr>
              <a:t>Personalized Engagement</a:t>
            </a:r>
            <a:r>
              <a:rPr lang="en-US" sz="1680" dirty="0">
                <a:solidFill>
                  <a:srgbClr val="212121"/>
                </a:solidFill>
                <a:latin typeface="+mn-lt"/>
                <a:cs typeface="Arial"/>
              </a:rPr>
              <a:t>:  Increased engagement by 30% through multi-channels</a:t>
            </a: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endParaRPr lang="en-US" sz="1440" i="1" dirty="0">
              <a:solidFill>
                <a:srgbClr val="212121"/>
              </a:solidFill>
              <a:latin typeface="+mn-lt"/>
            </a:endParaRP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endParaRPr lang="en-US" sz="1440" dirty="0">
              <a:solidFill>
                <a:srgbClr val="212121"/>
              </a:solidFill>
              <a:latin typeface="+mn-lt"/>
            </a:endParaRP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r>
              <a:rPr lang="en-US" sz="1680" dirty="0">
                <a:solidFill>
                  <a:srgbClr val="212121"/>
                </a:solidFill>
                <a:latin typeface="+mn-lt"/>
              </a:rPr>
              <a:t>Ingests and transforms all types of data sources </a:t>
            </a: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r>
              <a:rPr lang="en-US" sz="1680" dirty="0">
                <a:solidFill>
                  <a:srgbClr val="212121"/>
                </a:solidFill>
                <a:latin typeface="+mn-lt"/>
              </a:rPr>
              <a:t>Advanced analytics and AI to rapidly extract insights from data</a:t>
            </a: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r>
              <a:rPr lang="en-US" sz="1680" dirty="0">
                <a:solidFill>
                  <a:srgbClr val="212121"/>
                </a:solidFill>
                <a:latin typeface="+mn-lt"/>
                <a:cs typeface="Arial"/>
              </a:rPr>
              <a:t>Campaign orchestration, workflow and reporting tools improve efficiency and impact of clinical workflows and drive personalized member engagement</a:t>
            </a: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r>
              <a:rPr lang="en-US" sz="1680" dirty="0">
                <a:solidFill>
                  <a:srgbClr val="212121"/>
                </a:solidFill>
                <a:latin typeface="+mn-lt"/>
              </a:rPr>
              <a:t>API platform and consulting support enables customers to develop proprietary capabilities that leverage the Medecision platform</a:t>
            </a:r>
            <a:endParaRPr lang="en-US" sz="1680" i="1" dirty="0">
              <a:solidFill>
                <a:srgbClr val="58585A"/>
              </a:solidFill>
              <a:latin typeface="+mn-lt"/>
            </a:endParaRPr>
          </a:p>
          <a:p>
            <a:pPr marL="273547" indent="-273547">
              <a:defRPr/>
            </a:pPr>
            <a:endParaRPr lang="en-US" sz="1920" dirty="0">
              <a:solidFill>
                <a:srgbClr val="58585A"/>
              </a:solidFill>
              <a:latin typeface="+mn-lt"/>
            </a:endParaRP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endParaRPr lang="en-US" sz="1440" dirty="0">
              <a:solidFill>
                <a:srgbClr val="58585A"/>
              </a:solidFill>
              <a:latin typeface="+mn-lt"/>
            </a:endParaRP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endParaRPr lang="en-US" sz="1440" dirty="0">
              <a:solidFill>
                <a:srgbClr val="58585A"/>
              </a:solidFill>
              <a:latin typeface="+mn-lt"/>
            </a:endParaRPr>
          </a:p>
          <a:p>
            <a:pPr marL="284977" indent="-284977">
              <a:buFont typeface="Arial" panose="020B0604020202020204" pitchFamily="34" charset="0"/>
              <a:buChar char="•"/>
              <a:defRPr/>
            </a:pPr>
            <a:endParaRPr lang="en-US" sz="1440" dirty="0">
              <a:solidFill>
                <a:srgbClr val="58585A"/>
              </a:solidFill>
              <a:latin typeface="+mn-lt"/>
              <a:ea typeface="Arial" charset="0"/>
            </a:endParaRPr>
          </a:p>
          <a:p>
            <a:pPr marL="273547" indent="-273547"/>
            <a:endParaRPr lang="en-US" dirty="0">
              <a:latin typeface="+mn-lt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ECCFE2B-5502-D553-DFA4-E82967F4A40A}"/>
              </a:ext>
            </a:extLst>
          </p:cNvPr>
          <p:cNvSpPr txBox="1">
            <a:spLocks/>
          </p:cNvSpPr>
          <p:nvPr/>
        </p:nvSpPr>
        <p:spPr>
          <a:xfrm>
            <a:off x="7811187" y="4337714"/>
            <a:ext cx="6181726" cy="509693"/>
          </a:xfrm>
          <a:prstGeom prst="rect">
            <a:avLst/>
          </a:prstGeom>
        </p:spPr>
        <p:txBody>
          <a:bodyPr anchor="ctr"/>
          <a:lstStyle>
            <a:lvl1pPr marL="0" indent="0" algn="l" defTabSz="609576" rtl="0" eaLnBrk="1" latinLnBrk="0" hangingPunct="1">
              <a:spcBef>
                <a:spcPts val="750"/>
              </a:spcBef>
              <a:buClr>
                <a:schemeClr val="tx1"/>
              </a:buClr>
              <a:buFont typeface="Arial" charset="0"/>
              <a:buNone/>
              <a:defRPr sz="1333" b="0" i="0" kern="1200">
                <a:solidFill>
                  <a:schemeClr val="bg2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09576" indent="-228591" algn="l" defTabSz="609576" rtl="0" eaLnBrk="1" latinLnBrk="0" hangingPunct="1">
              <a:spcBef>
                <a:spcPts val="500"/>
              </a:spcBef>
              <a:buClr>
                <a:schemeClr val="tx1"/>
              </a:buClr>
              <a:buFont typeface="Arial" charset="0"/>
              <a:buChar char="•"/>
              <a:defRPr sz="1667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2pPr>
            <a:lvl3pPr marL="990560" indent="-228591" algn="l" defTabSz="609576" rtl="0" eaLnBrk="1" latinLnBrk="0" hangingPunct="1">
              <a:spcBef>
                <a:spcPts val="500"/>
              </a:spcBef>
              <a:buClr>
                <a:schemeClr val="tx1"/>
              </a:buClr>
              <a:buFont typeface="Arial"/>
              <a:buChar char="•"/>
              <a:defRPr sz="1667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3pPr>
            <a:lvl4pPr marL="2133515" indent="-304788" algn="l" defTabSz="609576" rtl="0" eaLnBrk="1" latinLnBrk="0" hangingPunct="1">
              <a:spcBef>
                <a:spcPts val="500"/>
              </a:spcBef>
              <a:buFont typeface="Arial"/>
              <a:buChar char="–"/>
              <a:defRPr sz="2167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2743090" indent="-304788" algn="l" defTabSz="609576" rtl="0" eaLnBrk="1" latinLnBrk="0" hangingPunct="1">
              <a:spcBef>
                <a:spcPts val="500"/>
              </a:spcBef>
              <a:buFont typeface="Arial"/>
              <a:buChar char="»"/>
              <a:defRPr sz="2167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3352666" indent="-304788" algn="l" defTabSz="609576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42" indent="-304788" algn="l" defTabSz="609576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17" indent="-304788" algn="l" defTabSz="609576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93" indent="-304788" algn="l" defTabSz="609576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31461">
              <a:spcBef>
                <a:spcPts val="900"/>
              </a:spcBef>
              <a:buClr>
                <a:srgbClr val="58585A"/>
              </a:buClr>
              <a:defRPr/>
            </a:pPr>
            <a:r>
              <a:rPr lang="en-US" sz="2400" b="1" dirty="0">
                <a:solidFill>
                  <a:srgbClr val="F58220"/>
                </a:solidFill>
                <a:latin typeface="Arial"/>
              </a:rPr>
              <a:t>How it Work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BF10B72-DFA1-0A6A-0D1D-17B343879463}"/>
              </a:ext>
            </a:extLst>
          </p:cNvPr>
          <p:cNvSpPr txBox="1">
            <a:spLocks/>
          </p:cNvSpPr>
          <p:nvPr/>
        </p:nvSpPr>
        <p:spPr>
          <a:xfrm>
            <a:off x="654051" y="1348982"/>
            <a:ext cx="5945532" cy="509704"/>
          </a:xfrm>
          <a:prstGeom prst="rect">
            <a:avLst/>
          </a:prstGeom>
        </p:spPr>
        <p:txBody>
          <a:bodyPr/>
          <a:lstStyle>
            <a:lvl1pPr marL="274298" indent="-274298" algn="l" defTabSz="731461" rtl="0" eaLnBrk="1" latinLnBrk="0" hangingPunct="1">
              <a:spcBef>
                <a:spcPts val="900"/>
              </a:spcBef>
              <a:buClr>
                <a:schemeClr val="tx1"/>
              </a:buClr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1pPr>
            <a:lvl2pPr marL="731461" indent="-274298" algn="l" defTabSz="731461" rtl="0" eaLnBrk="1" latinLnBrk="0" hangingPunct="1">
              <a:spcBef>
                <a:spcPts val="600"/>
              </a:spcBef>
              <a:buClr>
                <a:schemeClr val="tx1"/>
              </a:buClr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2pPr>
            <a:lvl3pPr marL="1188624" indent="-274298" algn="l" defTabSz="731461" rtl="0" eaLnBrk="1" latinLnBrk="0" hangingPunct="1">
              <a:spcBef>
                <a:spcPts val="600"/>
              </a:spcBef>
              <a:buClr>
                <a:schemeClr val="tx1"/>
              </a:buClr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3pPr>
            <a:lvl4pPr marL="2560116" indent="-365731" algn="l" defTabSz="731461" rtl="0" eaLnBrk="1" latinLnBrk="0" hangingPunct="1">
              <a:spcBef>
                <a:spcPts val="600"/>
              </a:spcBef>
              <a:buFont typeface="Arial"/>
              <a:buChar char="–"/>
              <a:defRPr sz="26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3291576" indent="-365731" algn="l" defTabSz="731461" rtl="0" eaLnBrk="1" latinLnBrk="0" hangingPunct="1">
              <a:spcBef>
                <a:spcPts val="600"/>
              </a:spcBef>
              <a:buFont typeface="Arial"/>
              <a:buChar char="»"/>
              <a:defRPr sz="26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023038" indent="-365731" algn="l" defTabSz="731461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54500" indent="-365731" algn="l" defTabSz="731461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85961" indent="-365731" algn="l" defTabSz="731461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17423" indent="-365731" algn="l" defTabSz="731461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INTRODUCING THE AERIAL DATA PLATFORM AND CLINICAL INTELLIGENCE ENGINE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245BE7F1-4AA5-6F7F-E7C7-F6EA04AC3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1" y="2730457"/>
            <a:ext cx="5865296" cy="735485"/>
          </a:xfrm>
        </p:spPr>
        <p:txBody>
          <a:bodyPr/>
          <a:lstStyle/>
          <a:p>
            <a:r>
              <a:rPr lang="en-US" sz="3600" dirty="0"/>
              <a:t>It’s time to make your data make a difference.</a:t>
            </a:r>
          </a:p>
        </p:txBody>
      </p:sp>
    </p:spTree>
    <p:extLst>
      <p:ext uri="{BB962C8B-B14F-4D97-AF65-F5344CB8AC3E}">
        <p14:creationId xmlns:p14="http://schemas.microsoft.com/office/powerpoint/2010/main" val="1421931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" name="Rounded Rectangle 1094">
            <a:extLst>
              <a:ext uri="{FF2B5EF4-FFF2-40B4-BE49-F238E27FC236}">
                <a16:creationId xmlns:a16="http://schemas.microsoft.com/office/drawing/2014/main" id="{F0B759C3-D9EB-5A4E-CFF6-96EDA965E2C8}"/>
              </a:ext>
            </a:extLst>
          </p:cNvPr>
          <p:cNvSpPr/>
          <p:nvPr/>
        </p:nvSpPr>
        <p:spPr>
          <a:xfrm>
            <a:off x="10808954" y="2574054"/>
            <a:ext cx="3312764" cy="4433681"/>
          </a:xfrm>
          <a:prstGeom prst="roundRect">
            <a:avLst>
              <a:gd name="adj" fmla="val 5023"/>
            </a:avLst>
          </a:prstGeom>
          <a:solidFill>
            <a:schemeClr val="accent1">
              <a:lumMod val="75000"/>
              <a:alpha val="76000"/>
            </a:schemeClr>
          </a:solidFill>
          <a:ln w="9525" cap="rnd">
            <a:solidFill>
              <a:schemeClr val="accent1">
                <a:lumMod val="20000"/>
                <a:lumOff val="80000"/>
                <a:alpha val="66717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74" name="Oval 1073">
            <a:extLst>
              <a:ext uri="{FF2B5EF4-FFF2-40B4-BE49-F238E27FC236}">
                <a16:creationId xmlns:a16="http://schemas.microsoft.com/office/drawing/2014/main" id="{21457B26-BE7A-B0F4-82CB-17DBAA779B6C}"/>
              </a:ext>
            </a:extLst>
          </p:cNvPr>
          <p:cNvSpPr/>
          <p:nvPr/>
        </p:nvSpPr>
        <p:spPr>
          <a:xfrm>
            <a:off x="11827013" y="3342680"/>
            <a:ext cx="1229215" cy="1229215"/>
          </a:xfrm>
          <a:prstGeom prst="ellipse">
            <a:avLst/>
          </a:prstGeom>
          <a:solidFill>
            <a:schemeClr val="accent1">
              <a:lumMod val="60000"/>
              <a:lumOff val="40000"/>
              <a:alpha val="47000"/>
            </a:schemeClr>
          </a:solidFill>
          <a:ln w="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6341D32E-7B9D-4DBC-E958-9FD660A570C5}"/>
              </a:ext>
            </a:extLst>
          </p:cNvPr>
          <p:cNvSpPr/>
          <p:nvPr/>
        </p:nvSpPr>
        <p:spPr>
          <a:xfrm>
            <a:off x="343389" y="5104131"/>
            <a:ext cx="1781469" cy="1700454"/>
          </a:xfrm>
          <a:prstGeom prst="roundRect">
            <a:avLst>
              <a:gd name="adj" fmla="val 8595"/>
            </a:avLst>
          </a:prstGeom>
          <a:solidFill>
            <a:schemeClr val="accent1">
              <a:lumMod val="75000"/>
              <a:alpha val="73915"/>
            </a:schemeClr>
          </a:solidFill>
          <a:ln w="0" cap="rnd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XTERNAL DATA SOURCES</a:t>
            </a:r>
          </a:p>
          <a:p>
            <a:pPr marL="0" marR="0" lvl="0" indent="0" algn="ctr" defTabSz="73152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aming Data</a:t>
            </a:r>
          </a:p>
          <a:p>
            <a:pPr marL="171450" marR="0" lvl="0" indent="-171450" algn="l" defTabSz="73152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tch Files</a:t>
            </a:r>
          </a:p>
          <a:p>
            <a:pPr marL="171450" marR="0" lvl="0" indent="-171450" algn="l" defTabSz="731520" rtl="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Warehouse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0406AACA-E011-9A33-875E-EB230F22E60F}"/>
              </a:ext>
            </a:extLst>
          </p:cNvPr>
          <p:cNvSpPr/>
          <p:nvPr/>
        </p:nvSpPr>
        <p:spPr>
          <a:xfrm>
            <a:off x="2900960" y="2119423"/>
            <a:ext cx="7440849" cy="5384514"/>
          </a:xfrm>
          <a:prstGeom prst="roundRect">
            <a:avLst>
              <a:gd name="adj" fmla="val 5023"/>
            </a:avLst>
          </a:prstGeom>
          <a:solidFill>
            <a:schemeClr val="accent1">
              <a:lumMod val="75000"/>
              <a:alpha val="47000"/>
            </a:schemeClr>
          </a:solidFill>
          <a:ln w="9525" cap="rnd">
            <a:solidFill>
              <a:schemeClr val="accent1">
                <a:lumMod val="20000"/>
                <a:lumOff val="80000"/>
                <a:alpha val="66936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3AF9ECDC-E711-E6B2-AF40-28C1C8D123F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6618" y="2087339"/>
            <a:ext cx="1972127" cy="98606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87366C8-B29C-15F3-8B8A-85A76651F898}"/>
              </a:ext>
            </a:extLst>
          </p:cNvPr>
          <p:cNvSpPr txBox="1">
            <a:spLocks/>
          </p:cNvSpPr>
          <p:nvPr/>
        </p:nvSpPr>
        <p:spPr>
          <a:xfrm>
            <a:off x="5426451" y="2390010"/>
            <a:ext cx="3951939" cy="948374"/>
          </a:xfrm>
          <a:prstGeom prst="rect">
            <a:avLst/>
          </a:prstGeom>
        </p:spPr>
        <p:txBody>
          <a:bodyPr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73152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alth Data &amp; Analytics Platform</a:t>
            </a: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id="{D268C628-C754-49A9-9DEB-97E66EE5CB59}"/>
              </a:ext>
            </a:extLst>
          </p:cNvPr>
          <p:cNvSpPr txBox="1"/>
          <p:nvPr/>
        </p:nvSpPr>
        <p:spPr>
          <a:xfrm>
            <a:off x="11952880" y="4151450"/>
            <a:ext cx="977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Patient 360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ADA8C6BA-CD51-BA9B-F911-CDEFAD569A6A}"/>
              </a:ext>
            </a:extLst>
          </p:cNvPr>
          <p:cNvSpPr/>
          <p:nvPr/>
        </p:nvSpPr>
        <p:spPr>
          <a:xfrm>
            <a:off x="3135488" y="3162607"/>
            <a:ext cx="1687833" cy="647490"/>
          </a:xfrm>
          <a:prstGeom prst="roundRect">
            <a:avLst>
              <a:gd name="adj" fmla="val 14742"/>
            </a:avLst>
          </a:prstGeom>
          <a:solidFill>
            <a:schemeClr val="accent1">
              <a:lumMod val="75000"/>
              <a:alpha val="73915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0" bIns="0" rtlCol="0" anchor="ctr"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GESTION</a:t>
            </a: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DE0A06E0-C119-BC1D-2A2F-7E93F2D8F8E8}"/>
              </a:ext>
            </a:extLst>
          </p:cNvPr>
          <p:cNvSpPr/>
          <p:nvPr/>
        </p:nvSpPr>
        <p:spPr>
          <a:xfrm>
            <a:off x="3135488" y="4422794"/>
            <a:ext cx="1687833" cy="647490"/>
          </a:xfrm>
          <a:prstGeom prst="roundRect">
            <a:avLst>
              <a:gd name="adj" fmla="val 13117"/>
            </a:avLst>
          </a:prstGeom>
          <a:solidFill>
            <a:schemeClr val="accent1">
              <a:lumMod val="75000"/>
              <a:alpha val="73915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0" bIns="0" rtlCol="0" anchor="ctr"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LAKE</a:t>
            </a: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84582A79-3101-29A2-245D-2939AD8E165C}"/>
              </a:ext>
            </a:extLst>
          </p:cNvPr>
          <p:cNvSpPr/>
          <p:nvPr/>
        </p:nvSpPr>
        <p:spPr>
          <a:xfrm>
            <a:off x="3125836" y="5599223"/>
            <a:ext cx="1698888" cy="647490"/>
          </a:xfrm>
          <a:prstGeom prst="roundRect">
            <a:avLst>
              <a:gd name="adj" fmla="val 10750"/>
            </a:avLst>
          </a:prstGeom>
          <a:solidFill>
            <a:schemeClr val="accent1">
              <a:lumMod val="75000"/>
              <a:alpha val="73915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0" bIns="0" rtlCol="0" anchor="ctr"/>
          <a:lstStyle/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TICAL ZONE</a:t>
            </a: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86F7B729-8F98-991F-E4A8-F877E6F3A96D}"/>
              </a:ext>
            </a:extLst>
          </p:cNvPr>
          <p:cNvSpPr/>
          <p:nvPr/>
        </p:nvSpPr>
        <p:spPr>
          <a:xfrm>
            <a:off x="5213590" y="3165688"/>
            <a:ext cx="2093365" cy="3081025"/>
          </a:xfrm>
          <a:prstGeom prst="roundRect">
            <a:avLst>
              <a:gd name="adj" fmla="val 5277"/>
            </a:avLst>
          </a:prstGeom>
          <a:solidFill>
            <a:schemeClr val="accent1">
              <a:lumMod val="75000"/>
              <a:alpha val="73915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0" rIns="0" rtlCol="0" anchor="ctr"/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42563"/>
              </a:buClr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ORMATION</a:t>
            </a:r>
          </a:p>
          <a:p>
            <a:pPr marL="0" marR="0" lvl="0" indent="0" algn="ctr" defTabSz="73152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>
                <a:srgbClr val="242563"/>
              </a:buClr>
              <a:buSzTx/>
              <a:buFontTx/>
              <a:buNone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3152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>
                <a:srgbClr val="242563"/>
              </a:buClr>
              <a:buSzTx/>
              <a:buFontTx/>
              <a:buNone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indent="-171450">
              <a:lnSpc>
                <a:spcPts val="1400"/>
              </a:lnSpc>
              <a:buClr>
                <a:prstClr val="white"/>
              </a:buClr>
              <a:buFont typeface="Arial" panose="020B0604020202020204" pitchFamily="34" charset="0"/>
              <a:buChar char="•"/>
              <a:defRPr/>
            </a:pPr>
            <a:r>
              <a:rPr lang="en-US" sz="1080" dirty="0">
                <a:solidFill>
                  <a:schemeClr val="bg1"/>
                </a:solidFill>
              </a:rPr>
              <a:t>Customer to FHIR pipeline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-time intelligence pipeline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vidual matching algorithm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enrichment pipeline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care summary pipeline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74E14FF9-98B4-F887-8274-F2A60DFDAB4B}"/>
              </a:ext>
            </a:extLst>
          </p:cNvPr>
          <p:cNvSpPr/>
          <p:nvPr/>
        </p:nvSpPr>
        <p:spPr>
          <a:xfrm>
            <a:off x="343389" y="3554552"/>
            <a:ext cx="1963752" cy="977619"/>
          </a:xfrm>
          <a:prstGeom prst="roundRect">
            <a:avLst/>
          </a:prstGeom>
          <a:solidFill>
            <a:schemeClr val="accent1">
              <a:lumMod val="75000"/>
              <a:alpha val="73915"/>
            </a:schemeClr>
          </a:solidFill>
          <a:ln w="0" cap="rnd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36576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XTERNAL REAL-TIME FEEDS</a:t>
            </a:r>
          </a:p>
        </p:txBody>
      </p:sp>
      <p:cxnSp>
        <p:nvCxnSpPr>
          <p:cNvPr id="25" name="Elbow Connector 24">
            <a:extLst>
              <a:ext uri="{FF2B5EF4-FFF2-40B4-BE49-F238E27FC236}">
                <a16:creationId xmlns:a16="http://schemas.microsoft.com/office/drawing/2014/main" id="{25DA8A10-C023-6AC6-4377-8D09B96BB504}"/>
              </a:ext>
            </a:extLst>
          </p:cNvPr>
          <p:cNvCxnSpPr>
            <a:cxnSpLocks/>
            <a:stCxn id="37" idx="3"/>
            <a:endCxn id="10" idx="1"/>
          </p:cNvCxnSpPr>
          <p:nvPr/>
        </p:nvCxnSpPr>
        <p:spPr>
          <a:xfrm flipV="1">
            <a:off x="2124858" y="4746539"/>
            <a:ext cx="1010630" cy="1207819"/>
          </a:xfrm>
          <a:prstGeom prst="bentConnector3">
            <a:avLst>
              <a:gd name="adj1" fmla="val 50000"/>
            </a:avLst>
          </a:prstGeom>
          <a:ln w="15875" cap="sq">
            <a:solidFill>
              <a:schemeClr val="bg1"/>
            </a:solidFill>
            <a:prstDash val="solid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>
            <a:extLst>
              <a:ext uri="{FF2B5EF4-FFF2-40B4-BE49-F238E27FC236}">
                <a16:creationId xmlns:a16="http://schemas.microsoft.com/office/drawing/2014/main" id="{FEFBE2A9-F330-474A-C035-1ECDCDDAC787}"/>
              </a:ext>
            </a:extLst>
          </p:cNvPr>
          <p:cNvCxnSpPr>
            <a:cxnSpLocks/>
            <a:stCxn id="37" idx="3"/>
            <a:endCxn id="2" idx="1"/>
          </p:cNvCxnSpPr>
          <p:nvPr/>
        </p:nvCxnSpPr>
        <p:spPr>
          <a:xfrm flipV="1">
            <a:off x="2124858" y="3486352"/>
            <a:ext cx="1010630" cy="2468006"/>
          </a:xfrm>
          <a:prstGeom prst="bentConnector3">
            <a:avLst>
              <a:gd name="adj1" fmla="val 50000"/>
            </a:avLst>
          </a:prstGeom>
          <a:ln w="15875" cap="sq">
            <a:solidFill>
              <a:schemeClr val="bg1"/>
            </a:solidFill>
            <a:prstDash val="solid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04B376CF-6CDD-AA18-BC72-9037AAF3BEB6}"/>
              </a:ext>
            </a:extLst>
          </p:cNvPr>
          <p:cNvCxnSpPr>
            <a:cxnSpLocks/>
            <a:stCxn id="2" idx="2"/>
            <a:endCxn id="10" idx="0"/>
          </p:cNvCxnSpPr>
          <p:nvPr/>
        </p:nvCxnSpPr>
        <p:spPr>
          <a:xfrm>
            <a:off x="3979405" y="3810097"/>
            <a:ext cx="0" cy="612697"/>
          </a:xfrm>
          <a:prstGeom prst="straightConnector1">
            <a:avLst/>
          </a:prstGeom>
          <a:ln w="15875" cap="sq">
            <a:solidFill>
              <a:schemeClr val="bg1"/>
            </a:solidFill>
            <a:prstDash val="solid"/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AE6CA5A8-DAC0-5A11-A0B2-0CDCF32139B2}"/>
              </a:ext>
            </a:extLst>
          </p:cNvPr>
          <p:cNvCxnSpPr>
            <a:cxnSpLocks/>
          </p:cNvCxnSpPr>
          <p:nvPr/>
        </p:nvCxnSpPr>
        <p:spPr>
          <a:xfrm flipH="1">
            <a:off x="3472269" y="5070284"/>
            <a:ext cx="4125" cy="528939"/>
          </a:xfrm>
          <a:prstGeom prst="straightConnector1">
            <a:avLst/>
          </a:prstGeom>
          <a:ln w="15875" cap="sq">
            <a:solidFill>
              <a:schemeClr val="bg1"/>
            </a:solidFill>
            <a:prstDash val="solid"/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CB6014DA-EBD7-5F78-B8EE-ACA86A8222A0}"/>
              </a:ext>
            </a:extLst>
          </p:cNvPr>
          <p:cNvCxnSpPr>
            <a:cxnSpLocks/>
          </p:cNvCxnSpPr>
          <p:nvPr/>
        </p:nvCxnSpPr>
        <p:spPr>
          <a:xfrm>
            <a:off x="4843233" y="4735472"/>
            <a:ext cx="365331" cy="0"/>
          </a:xfrm>
          <a:prstGeom prst="straightConnector1">
            <a:avLst/>
          </a:prstGeom>
          <a:ln w="15875" cap="sq">
            <a:solidFill>
              <a:schemeClr val="bg1"/>
            </a:solidFill>
            <a:prstDash val="solid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37DF9974-085E-E34C-5B25-AE0C461853E7}"/>
              </a:ext>
            </a:extLst>
          </p:cNvPr>
          <p:cNvSpPr/>
          <p:nvPr/>
        </p:nvSpPr>
        <p:spPr>
          <a:xfrm>
            <a:off x="7647863" y="3165688"/>
            <a:ext cx="2528633" cy="1591786"/>
          </a:xfrm>
          <a:prstGeom prst="roundRect">
            <a:avLst>
              <a:gd name="adj" fmla="val 4478"/>
            </a:avLst>
          </a:prstGeom>
          <a:solidFill>
            <a:schemeClr val="accent1">
              <a:lumMod val="75000"/>
              <a:alpha val="73915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" bIns="0" rtlCol="0" anchor="ctr"/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INTELLIGENCE ENGINE</a:t>
            </a:r>
          </a:p>
          <a:p>
            <a:pPr marL="0" marR="0" lvl="0" indent="0" algn="ctr" defTabSz="73152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31520" rtl="0" eaLnBrk="1" fontAlgn="auto" latinLnBrk="0" hangingPunct="1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-time rules builder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pulation builder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am builder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80" dirty="0">
                <a:solidFill>
                  <a:prstClr val="white"/>
                </a:solidFill>
                <a:latin typeface="Arial"/>
              </a:rPr>
              <a:t>Campaign builder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mplate builder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urney Builder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ABB0CD7C-3AC3-06E1-4A03-A33EF698BF8B}"/>
              </a:ext>
            </a:extLst>
          </p:cNvPr>
          <p:cNvSpPr/>
          <p:nvPr/>
        </p:nvSpPr>
        <p:spPr>
          <a:xfrm>
            <a:off x="7647862" y="4927626"/>
            <a:ext cx="2527871" cy="1325898"/>
          </a:xfrm>
          <a:prstGeom prst="roundRect">
            <a:avLst>
              <a:gd name="adj" fmla="val 8809"/>
            </a:avLst>
          </a:prstGeom>
          <a:solidFill>
            <a:schemeClr val="accent1">
              <a:lumMod val="75000"/>
              <a:alpha val="73915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ctr"/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PRODUCTS</a:t>
            </a:r>
          </a:p>
          <a:p>
            <a:pPr marL="0" marR="0" lvl="0" indent="0" algn="ctr" defTabSz="731520" rtl="0" eaLnBrk="1" fontAlgn="auto" latinLnBrk="0" hangingPunct="1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31520" rtl="0" eaLnBrk="1" fontAlgn="auto" latinLnBrk="0" hangingPunct="1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care API/FHIR Store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tics datasets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-time dashboards</a:t>
            </a:r>
          </a:p>
          <a:p>
            <a:pPr marL="171450" marR="0" lvl="0" indent="-171450" algn="l" defTabSz="7315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vidual records</a:t>
            </a:r>
          </a:p>
        </p:txBody>
      </p:sp>
      <p:sp>
        <p:nvSpPr>
          <p:cNvPr id="1029" name="Rounded Rectangle 1028">
            <a:extLst>
              <a:ext uri="{FF2B5EF4-FFF2-40B4-BE49-F238E27FC236}">
                <a16:creationId xmlns:a16="http://schemas.microsoft.com/office/drawing/2014/main" id="{0799815B-D177-389A-0107-B9BC4C4F76FE}"/>
              </a:ext>
            </a:extLst>
          </p:cNvPr>
          <p:cNvSpPr/>
          <p:nvPr/>
        </p:nvSpPr>
        <p:spPr>
          <a:xfrm>
            <a:off x="3125836" y="6355504"/>
            <a:ext cx="7050660" cy="1044203"/>
          </a:xfrm>
          <a:prstGeom prst="roundRect">
            <a:avLst>
              <a:gd name="adj" fmla="val 9064"/>
            </a:avLst>
          </a:prstGeom>
          <a:solidFill>
            <a:schemeClr val="accent1">
              <a:lumMod val="75000"/>
              <a:alpha val="73915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118872" rtlCol="0" anchor="t" anchorCtr="0"/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PLATFORM OPERATIONS</a:t>
            </a: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F582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4" name="TextBox 1053">
            <a:extLst>
              <a:ext uri="{FF2B5EF4-FFF2-40B4-BE49-F238E27FC236}">
                <a16:creationId xmlns:a16="http://schemas.microsoft.com/office/drawing/2014/main" id="{935EDF4C-B2BB-30B1-A44B-8CBB0DCC7212}"/>
              </a:ext>
            </a:extLst>
          </p:cNvPr>
          <p:cNvSpPr txBox="1"/>
          <p:nvPr/>
        </p:nvSpPr>
        <p:spPr>
          <a:xfrm>
            <a:off x="3315796" y="6863780"/>
            <a:ext cx="897166" cy="4247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Catalog</a:t>
            </a:r>
          </a:p>
        </p:txBody>
      </p:sp>
      <p:sp>
        <p:nvSpPr>
          <p:cNvPr id="1055" name="TextBox 1054">
            <a:extLst>
              <a:ext uri="{FF2B5EF4-FFF2-40B4-BE49-F238E27FC236}">
                <a16:creationId xmlns:a16="http://schemas.microsoft.com/office/drawing/2014/main" id="{DECB2ECC-F021-AF48-FEA7-0EA111CF3B3E}"/>
              </a:ext>
            </a:extLst>
          </p:cNvPr>
          <p:cNvSpPr txBox="1"/>
          <p:nvPr/>
        </p:nvSpPr>
        <p:spPr>
          <a:xfrm>
            <a:off x="4306574" y="6863779"/>
            <a:ext cx="1075553" cy="4247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peline Monitoring</a:t>
            </a:r>
          </a:p>
        </p:txBody>
      </p:sp>
      <p:sp>
        <p:nvSpPr>
          <p:cNvPr id="1056" name="TextBox 1055">
            <a:extLst>
              <a:ext uri="{FF2B5EF4-FFF2-40B4-BE49-F238E27FC236}">
                <a16:creationId xmlns:a16="http://schemas.microsoft.com/office/drawing/2014/main" id="{2E7E9D8B-5FD3-2C0F-1B25-F20858334AA0}"/>
              </a:ext>
            </a:extLst>
          </p:cNvPr>
          <p:cNvSpPr txBox="1"/>
          <p:nvPr/>
        </p:nvSpPr>
        <p:spPr>
          <a:xfrm>
            <a:off x="5475739" y="6863779"/>
            <a:ext cx="979705" cy="2585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Quality</a:t>
            </a:r>
          </a:p>
        </p:txBody>
      </p:sp>
      <p:sp>
        <p:nvSpPr>
          <p:cNvPr id="1057" name="TextBox 1056">
            <a:extLst>
              <a:ext uri="{FF2B5EF4-FFF2-40B4-BE49-F238E27FC236}">
                <a16:creationId xmlns:a16="http://schemas.microsoft.com/office/drawing/2014/main" id="{C68A5185-85D6-205B-FB60-C2BBE185AEF9}"/>
              </a:ext>
            </a:extLst>
          </p:cNvPr>
          <p:cNvSpPr txBox="1"/>
          <p:nvPr/>
        </p:nvSpPr>
        <p:spPr>
          <a:xfrm>
            <a:off x="6549056" y="6863779"/>
            <a:ext cx="886255" cy="4247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Security</a:t>
            </a:r>
          </a:p>
        </p:txBody>
      </p:sp>
      <p:sp>
        <p:nvSpPr>
          <p:cNvPr id="1058" name="TextBox 1057">
            <a:extLst>
              <a:ext uri="{FF2B5EF4-FFF2-40B4-BE49-F238E27FC236}">
                <a16:creationId xmlns:a16="http://schemas.microsoft.com/office/drawing/2014/main" id="{E063736D-9751-D435-A31A-39C5E04E2B2A}"/>
              </a:ext>
            </a:extLst>
          </p:cNvPr>
          <p:cNvSpPr txBox="1"/>
          <p:nvPr/>
        </p:nvSpPr>
        <p:spPr>
          <a:xfrm>
            <a:off x="7528923" y="6852762"/>
            <a:ext cx="1222662" cy="4247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Orchestration</a:t>
            </a:r>
          </a:p>
        </p:txBody>
      </p:sp>
      <p:sp>
        <p:nvSpPr>
          <p:cNvPr id="1059" name="TextBox 1058">
            <a:extLst>
              <a:ext uri="{FF2B5EF4-FFF2-40B4-BE49-F238E27FC236}">
                <a16:creationId xmlns:a16="http://schemas.microsoft.com/office/drawing/2014/main" id="{0AA146FE-1492-26F5-C4CB-F43EDBE03966}"/>
              </a:ext>
            </a:extLst>
          </p:cNvPr>
          <p:cNvSpPr txBox="1"/>
          <p:nvPr/>
        </p:nvSpPr>
        <p:spPr>
          <a:xfrm>
            <a:off x="8845195" y="6852762"/>
            <a:ext cx="1195196" cy="4247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Infrastructure</a:t>
            </a:r>
          </a:p>
        </p:txBody>
      </p:sp>
      <p:cxnSp>
        <p:nvCxnSpPr>
          <p:cNvPr id="1063" name="Straight Arrow Connector 1062">
            <a:extLst>
              <a:ext uri="{FF2B5EF4-FFF2-40B4-BE49-F238E27FC236}">
                <a16:creationId xmlns:a16="http://schemas.microsoft.com/office/drawing/2014/main" id="{6AC8708C-B1BA-0D12-FADA-E9BDB773F643}"/>
              </a:ext>
            </a:extLst>
          </p:cNvPr>
          <p:cNvCxnSpPr>
            <a:cxnSpLocks/>
          </p:cNvCxnSpPr>
          <p:nvPr/>
        </p:nvCxnSpPr>
        <p:spPr>
          <a:xfrm flipH="1">
            <a:off x="7221402" y="4039548"/>
            <a:ext cx="416168" cy="2543"/>
          </a:xfrm>
          <a:prstGeom prst="straightConnector1">
            <a:avLst/>
          </a:prstGeom>
          <a:ln w="15875" cap="sq">
            <a:solidFill>
              <a:schemeClr val="bg1"/>
            </a:solidFill>
            <a:prstDash val="solid"/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4" name="Elbow Connector 1063">
            <a:extLst>
              <a:ext uri="{FF2B5EF4-FFF2-40B4-BE49-F238E27FC236}">
                <a16:creationId xmlns:a16="http://schemas.microsoft.com/office/drawing/2014/main" id="{99F1C4E7-1BB0-7B82-2643-95E6C741D1B7}"/>
              </a:ext>
            </a:extLst>
          </p:cNvPr>
          <p:cNvCxnSpPr>
            <a:cxnSpLocks/>
            <a:stCxn id="20" idx="0"/>
            <a:endCxn id="61" idx="0"/>
          </p:cNvCxnSpPr>
          <p:nvPr/>
        </p:nvCxnSpPr>
        <p:spPr>
          <a:xfrm rot="5400000" flipH="1" flipV="1">
            <a:off x="4924290" y="-433337"/>
            <a:ext cx="388864" cy="7586915"/>
          </a:xfrm>
          <a:prstGeom prst="bentConnector3">
            <a:avLst>
              <a:gd name="adj1" fmla="val 158787"/>
            </a:avLst>
          </a:prstGeom>
          <a:ln w="15875" cap="sq">
            <a:solidFill>
              <a:schemeClr val="bg1"/>
            </a:solidFill>
            <a:prstDash val="solid"/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2" name="Straight Arrow Connector 1071">
            <a:extLst>
              <a:ext uri="{FF2B5EF4-FFF2-40B4-BE49-F238E27FC236}">
                <a16:creationId xmlns:a16="http://schemas.microsoft.com/office/drawing/2014/main" id="{559D2FB0-A69D-F1C5-9A08-EFCC4CA8A9E3}"/>
              </a:ext>
            </a:extLst>
          </p:cNvPr>
          <p:cNvCxnSpPr>
            <a:cxnSpLocks/>
          </p:cNvCxnSpPr>
          <p:nvPr/>
        </p:nvCxnSpPr>
        <p:spPr>
          <a:xfrm>
            <a:off x="7255639" y="5391799"/>
            <a:ext cx="426347" cy="0"/>
          </a:xfrm>
          <a:prstGeom prst="straightConnector1">
            <a:avLst/>
          </a:prstGeom>
          <a:ln w="15875" cap="sq">
            <a:solidFill>
              <a:schemeClr val="bg1"/>
            </a:solidFill>
            <a:prstDash val="solid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5" name="Triangle 1074">
            <a:extLst>
              <a:ext uri="{FF2B5EF4-FFF2-40B4-BE49-F238E27FC236}">
                <a16:creationId xmlns:a16="http://schemas.microsoft.com/office/drawing/2014/main" id="{C3954F63-9182-B23E-60B6-453F6E002BA8}"/>
              </a:ext>
            </a:extLst>
          </p:cNvPr>
          <p:cNvSpPr/>
          <p:nvPr/>
        </p:nvSpPr>
        <p:spPr>
          <a:xfrm rot="5400000">
            <a:off x="10154330" y="4434151"/>
            <a:ext cx="1309249" cy="782290"/>
          </a:xfrm>
          <a:prstGeom prst="triangle">
            <a:avLst/>
          </a:prstGeom>
          <a:solidFill>
            <a:schemeClr val="accent1">
              <a:lumMod val="60000"/>
              <a:lumOff val="40000"/>
              <a:alpha val="84000"/>
            </a:schemeClr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073" name="Graphic 1072">
            <a:extLst>
              <a:ext uri="{FF2B5EF4-FFF2-40B4-BE49-F238E27FC236}">
                <a16:creationId xmlns:a16="http://schemas.microsoft.com/office/drawing/2014/main" id="{229F2B0C-D863-6614-EE33-1C467A6C9D1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159044" y="3535648"/>
            <a:ext cx="601489" cy="601489"/>
          </a:xfrm>
          <a:prstGeom prst="rect">
            <a:avLst/>
          </a:prstGeom>
        </p:spPr>
      </p:pic>
      <p:sp>
        <p:nvSpPr>
          <p:cNvPr id="1076" name="Rounded Rectangle 1075">
            <a:extLst>
              <a:ext uri="{FF2B5EF4-FFF2-40B4-BE49-F238E27FC236}">
                <a16:creationId xmlns:a16="http://schemas.microsoft.com/office/drawing/2014/main" id="{647839EF-C881-070B-6538-6D8AAD2504B9}"/>
              </a:ext>
            </a:extLst>
          </p:cNvPr>
          <p:cNvSpPr/>
          <p:nvPr/>
        </p:nvSpPr>
        <p:spPr>
          <a:xfrm>
            <a:off x="10935629" y="5168516"/>
            <a:ext cx="1615854" cy="736351"/>
          </a:xfrm>
          <a:prstGeom prst="roundRect">
            <a:avLst>
              <a:gd name="adj" fmla="val 14742"/>
            </a:avLst>
          </a:prstGeom>
          <a:solidFill>
            <a:schemeClr val="accent1">
              <a:lumMod val="75000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4150" marR="5080" lvl="0" indent="-171450" algn="l" defTabSz="731520" rtl="0" eaLnBrk="1" fontAlgn="auto" latinLnBrk="0" hangingPunct="1">
              <a:lnSpc>
                <a:spcPct val="102099"/>
              </a:lnSpc>
              <a:spcBef>
                <a:spcPts val="3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ly interventions and  next best actions</a:t>
            </a: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7" name="Rounded Rectangle 1076">
            <a:extLst>
              <a:ext uri="{FF2B5EF4-FFF2-40B4-BE49-F238E27FC236}">
                <a16:creationId xmlns:a16="http://schemas.microsoft.com/office/drawing/2014/main" id="{23112FA0-7E33-B019-CE1B-76481699AA76}"/>
              </a:ext>
            </a:extLst>
          </p:cNvPr>
          <p:cNvSpPr/>
          <p:nvPr/>
        </p:nvSpPr>
        <p:spPr>
          <a:xfrm>
            <a:off x="12458762" y="5160858"/>
            <a:ext cx="1662955" cy="736351"/>
          </a:xfrm>
          <a:prstGeom prst="roundRect">
            <a:avLst>
              <a:gd name="adj" fmla="val 14742"/>
            </a:avLst>
          </a:prstGeom>
          <a:solidFill>
            <a:schemeClr val="accent1">
              <a:lumMod val="75000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marR="5080" lvl="0" indent="-171450" algn="l" defTabSz="731520" rtl="0" eaLnBrk="1" fontAlgn="auto" latinLnBrk="0" hangingPunct="1">
              <a:lnSpc>
                <a:spcPct val="102099"/>
              </a:lnSpc>
              <a:spcBef>
                <a:spcPts val="3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active care using predictive analytics</a:t>
            </a: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9" name="Rounded Rectangle 1078">
            <a:extLst>
              <a:ext uri="{FF2B5EF4-FFF2-40B4-BE49-F238E27FC236}">
                <a16:creationId xmlns:a16="http://schemas.microsoft.com/office/drawing/2014/main" id="{4CEFD403-1B61-39EC-DBA3-3ECF82A32771}"/>
              </a:ext>
            </a:extLst>
          </p:cNvPr>
          <p:cNvSpPr/>
          <p:nvPr/>
        </p:nvSpPr>
        <p:spPr>
          <a:xfrm>
            <a:off x="12458763" y="5998296"/>
            <a:ext cx="1662955" cy="820463"/>
          </a:xfrm>
          <a:prstGeom prst="roundRect">
            <a:avLst>
              <a:gd name="adj" fmla="val 14742"/>
            </a:avLst>
          </a:prstGeom>
          <a:solidFill>
            <a:schemeClr val="accent1">
              <a:lumMod val="75000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4150" marR="5080" lvl="0" indent="-171450" algn="l" defTabSz="731520" rtl="0" eaLnBrk="1" fontAlgn="auto" latinLnBrk="0" hangingPunct="1">
              <a:lnSpc>
                <a:spcPct val="102099"/>
              </a:lnSpc>
              <a:spcBef>
                <a:spcPts val="37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itive behavioral change with enhanced engagement</a:t>
            </a:r>
          </a:p>
        </p:txBody>
      </p:sp>
      <p:sp>
        <p:nvSpPr>
          <p:cNvPr id="1080" name="Rounded Rectangle 1079">
            <a:extLst>
              <a:ext uri="{FF2B5EF4-FFF2-40B4-BE49-F238E27FC236}">
                <a16:creationId xmlns:a16="http://schemas.microsoft.com/office/drawing/2014/main" id="{BFA05694-39D5-51ED-B58B-3F68A3DDF260}"/>
              </a:ext>
            </a:extLst>
          </p:cNvPr>
          <p:cNvSpPr/>
          <p:nvPr/>
        </p:nvSpPr>
        <p:spPr>
          <a:xfrm>
            <a:off x="10935628" y="5998296"/>
            <a:ext cx="1615855" cy="820463"/>
          </a:xfrm>
          <a:prstGeom prst="roundRect">
            <a:avLst>
              <a:gd name="adj" fmla="val 14742"/>
            </a:avLst>
          </a:prstGeom>
          <a:solidFill>
            <a:schemeClr val="accent1">
              <a:lumMod val="75000"/>
            </a:schemeClr>
          </a:solidFill>
          <a:ln w="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onalized care plans to each </a:t>
            </a:r>
            <a:r>
              <a:rPr lang="en-US" sz="1080" dirty="0">
                <a:solidFill>
                  <a:prstClr val="white"/>
                </a:solidFill>
                <a:latin typeface="Arial"/>
              </a:rPr>
              <a:t>individual’s</a:t>
            </a: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ique profile</a:t>
            </a: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ctr" defTabSz="731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84" name="Graphic 1083">
            <a:extLst>
              <a:ext uri="{FF2B5EF4-FFF2-40B4-BE49-F238E27FC236}">
                <a16:creationId xmlns:a16="http://schemas.microsoft.com/office/drawing/2014/main" id="{D8897ABA-D1C0-3ACA-C811-7E80C650425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30715" y="3029124"/>
            <a:ext cx="1821810" cy="182181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4FF4651-8FC2-2762-B653-CCF6F900F4DA}"/>
              </a:ext>
            </a:extLst>
          </p:cNvPr>
          <p:cNvSpPr txBox="1">
            <a:spLocks/>
          </p:cNvSpPr>
          <p:nvPr/>
        </p:nvSpPr>
        <p:spPr>
          <a:xfrm>
            <a:off x="8101015" y="7740503"/>
            <a:ext cx="5355173" cy="18288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2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04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56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8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12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064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16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31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charset="0"/>
              </a:rPr>
              <a:t>© 2024  Medecision, Inc. Proprietary and Confidential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044D8C0-28F3-E7BE-A962-151ECBEA116B}"/>
              </a:ext>
            </a:extLst>
          </p:cNvPr>
          <p:cNvSpPr txBox="1">
            <a:spLocks/>
          </p:cNvSpPr>
          <p:nvPr/>
        </p:nvSpPr>
        <p:spPr>
          <a:xfrm>
            <a:off x="13767756" y="7740504"/>
            <a:ext cx="618545" cy="18288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52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304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9456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2608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60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8912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2064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52160" algn="l" defTabSz="731520" rtl="0" eaLnBrk="1" latinLnBrk="0" hangingPunct="1"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31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AF5685-0041-EE47-908D-CBF7B3B5840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7314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1630649-8503-29D2-F997-6DE3988E06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9360" y="7547479"/>
            <a:ext cx="1490047" cy="393120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3522552C-27A7-18A2-70B9-4024A84729EF}"/>
              </a:ext>
            </a:extLst>
          </p:cNvPr>
          <p:cNvSpPr txBox="1">
            <a:spLocks/>
          </p:cNvSpPr>
          <p:nvPr/>
        </p:nvSpPr>
        <p:spPr>
          <a:xfrm>
            <a:off x="443984" y="904421"/>
            <a:ext cx="11508895" cy="735485"/>
          </a:xfrm>
          <a:prstGeom prst="rect">
            <a:avLst/>
          </a:prstGeom>
        </p:spPr>
        <p:txBody>
          <a:bodyPr/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73152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flexible, scalable, data platform to support multiple use cases</a:t>
            </a:r>
          </a:p>
          <a:p>
            <a:pPr marL="0" marR="0" lvl="0" indent="0" algn="l" defTabSz="73152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DC7381A7-A85A-42E8-3113-48E30B55968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1243" y="5201590"/>
            <a:ext cx="365760" cy="36576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91F07EEE-CAEF-CD9A-271D-268F664A3EF5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8073" y="3661713"/>
            <a:ext cx="330565" cy="330565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767882C6-D925-447A-EA56-B5D8D3B27BC0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57724" y="3317042"/>
            <a:ext cx="433215" cy="347472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09D3ED3B-CD81-B2FD-B275-1060A431F39C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300595" y="5745548"/>
            <a:ext cx="347472" cy="347472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5837B709-641E-22FB-8B33-7AA07BE48386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010955" y="3434007"/>
            <a:ext cx="347472" cy="347472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48AD5005-4646-0DC1-DFCA-BBDBB8FB630B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793900" y="3292341"/>
            <a:ext cx="349637" cy="349637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C7794BA3-097F-30CE-D41A-26AD09852C83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300595" y="4582175"/>
            <a:ext cx="347472" cy="347472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9467D65A-9635-DCFA-9718-F8066D6E8C5A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823157" y="5029910"/>
            <a:ext cx="347472" cy="347472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47EE08AB-9A58-CF04-1623-D657312D5C66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222137" y="6441171"/>
            <a:ext cx="347472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7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10875E9-3EED-B1D9-1164-3949CAE0A5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4051" y="1348982"/>
            <a:ext cx="6313280" cy="509704"/>
          </a:xfrm>
          <a:solidFill>
            <a:schemeClr val="accent5"/>
          </a:solidFill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 Drive to Full Contextual Awareness and Personaliz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EEBBFBB-385A-3526-0633-40E3FD3EEA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8A6F9B8-A35C-B29C-0990-9BD0BA629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95B8174-1FEB-E604-096F-2D1FB93BA8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27413" y="2213519"/>
            <a:ext cx="6066274" cy="571878"/>
          </a:xfrm>
        </p:spPr>
        <p:txBody>
          <a:bodyPr/>
          <a:lstStyle/>
          <a:p>
            <a:r>
              <a:rPr lang="en-US" dirty="0"/>
              <a:t>Real-time and Flexible Data Ingestion and Integration</a:t>
            </a:r>
          </a:p>
          <a:p>
            <a:r>
              <a:rPr lang="en-US" i="1" dirty="0"/>
              <a:t>[The toughest nut to crack]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4B7771A-5484-7BE9-D8BF-5419D05000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Lack of Built-in Care Intelligence</a:t>
            </a:r>
          </a:p>
          <a:p>
            <a:r>
              <a:rPr lang="en-US" i="1" dirty="0"/>
              <a:t>[It’s like a body without a central nervous system]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399123C-0234-B9E3-D522-7E4D5C8FDA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27412" y="5094035"/>
            <a:ext cx="6235239" cy="571536"/>
          </a:xfrm>
        </p:spPr>
        <p:txBody>
          <a:bodyPr/>
          <a:lstStyle/>
          <a:p>
            <a:r>
              <a:rPr lang="en-US" dirty="0"/>
              <a:t>Stuck in the Past</a:t>
            </a:r>
          </a:p>
          <a:p>
            <a:r>
              <a:rPr lang="en-US" i="1" dirty="0"/>
              <a:t>[The real tragedy of no real-time data access]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2DF1C7C-3A2A-032C-C2E6-7643E3DF53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27413" y="6533779"/>
            <a:ext cx="6235238" cy="571878"/>
          </a:xfrm>
        </p:spPr>
        <p:txBody>
          <a:bodyPr/>
          <a:lstStyle/>
          <a:p>
            <a:r>
              <a:rPr lang="en-US" dirty="0"/>
              <a:t>Disconnected Healthcare</a:t>
            </a:r>
          </a:p>
          <a:p>
            <a:r>
              <a:rPr lang="en-US" i="1" dirty="0"/>
              <a:t>[Failure to integrate all clinical data sources in real-time]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544EE22-7CBB-FADF-A9B8-5EF6444AAE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AF5685-0041-EE47-908D-CBF7B3B5840B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17" name="Picture 16" descr="A white puzzle with orange and white lines&#10;&#10;Description automatically generated">
            <a:extLst>
              <a:ext uri="{FF2B5EF4-FFF2-40B4-BE49-F238E27FC236}">
                <a16:creationId xmlns:a16="http://schemas.microsoft.com/office/drawing/2014/main" id="{788A044B-2171-4B2B-9639-91F98B97D18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373" y="3410396"/>
            <a:ext cx="4005423" cy="365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575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3704B5-FA4C-6560-C684-2FB359DE85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731461"/>
            <a:fld id="{B5AF5685-0041-EE47-908D-CBF7B3B5840B}" type="slidenum">
              <a:rPr lang="en-US">
                <a:solidFill>
                  <a:prstClr val="white">
                    <a:lumMod val="50000"/>
                  </a:prstClr>
                </a:solidFill>
              </a:rPr>
              <a:pPr defTabSz="731461"/>
              <a:t>5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988F60-028D-04A8-B96D-34F5CA829BB4}"/>
              </a:ext>
            </a:extLst>
          </p:cNvPr>
          <p:cNvSpPr txBox="1"/>
          <p:nvPr/>
        </p:nvSpPr>
        <p:spPr>
          <a:xfrm>
            <a:off x="7745521" y="413113"/>
            <a:ext cx="63126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731461"/>
            <a:r>
              <a:rPr lang="en-US" sz="1100" dirty="0">
                <a:solidFill>
                  <a:prstClr val="white">
                    <a:lumMod val="50000"/>
                  </a:prstClr>
                </a:solidFill>
                <a:latin typeface="Arial" charset="0"/>
                <a:ea typeface="Arial" charset="0"/>
                <a:cs typeface="Arial" charset="0"/>
              </a:rPr>
              <a:t>© 2024 MEDECISION, INC. PROPRIETARY AND CONFIDENTIAL 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8C21DFA0-63C7-0F34-F81D-3B4C74946B82}"/>
              </a:ext>
            </a:extLst>
          </p:cNvPr>
          <p:cNvSpPr txBox="1">
            <a:spLocks/>
          </p:cNvSpPr>
          <p:nvPr/>
        </p:nvSpPr>
        <p:spPr>
          <a:xfrm>
            <a:off x="711201" y="1943921"/>
            <a:ext cx="12489410" cy="11770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3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defTabSz="731461">
              <a:lnSpc>
                <a:spcPct val="100000"/>
              </a:lnSpc>
              <a:defRPr/>
            </a:pPr>
            <a:r>
              <a:rPr lang="en-GB" sz="2800" dirty="0">
                <a:solidFill>
                  <a:srgbClr val="242563"/>
                </a:solidFill>
                <a:latin typeface="Arial" panose="020B0604020202020204"/>
              </a:rPr>
              <a:t>Powering member engagement, improving outcomes, reducing costs</a:t>
            </a:r>
          </a:p>
        </p:txBody>
      </p:sp>
      <p:sp>
        <p:nvSpPr>
          <p:cNvPr id="34" name="Title 4">
            <a:extLst>
              <a:ext uri="{FF2B5EF4-FFF2-40B4-BE49-F238E27FC236}">
                <a16:creationId xmlns:a16="http://schemas.microsoft.com/office/drawing/2014/main" id="{81E20720-1E77-6846-0CF1-80ADE0002E2D}"/>
              </a:ext>
            </a:extLst>
          </p:cNvPr>
          <p:cNvSpPr txBox="1">
            <a:spLocks/>
          </p:cNvSpPr>
          <p:nvPr/>
        </p:nvSpPr>
        <p:spPr>
          <a:xfrm>
            <a:off x="817764" y="4587650"/>
            <a:ext cx="4595107" cy="44758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73152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3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defTabSz="731461">
              <a:lnSpc>
                <a:spcPct val="100000"/>
              </a:lnSpc>
              <a:defRPr/>
            </a:pPr>
            <a:r>
              <a:rPr lang="en-US" sz="1400" b="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For example, payer is using ADT data to identify members for care coordination and management. </a:t>
            </a:r>
          </a:p>
          <a:p>
            <a:pPr defTabSz="731461">
              <a:lnSpc>
                <a:spcPct val="100000"/>
              </a:lnSpc>
              <a:defRPr/>
            </a:pPr>
            <a:endParaRPr lang="en-US" sz="1400" b="0" dirty="0">
              <a:solidFill>
                <a:srgbClr val="58585A">
                  <a:lumMod val="50000"/>
                </a:srgbClr>
              </a:solidFill>
              <a:latin typeface="Arial" panose="020B0604020202020204"/>
            </a:endParaRPr>
          </a:p>
          <a:p>
            <a:pPr marL="285750" indent="-285750" defTabSz="73146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64%</a:t>
            </a:r>
            <a:r>
              <a:rPr lang="en-US" sz="1400" b="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 of members engaged successfully enrolled in a mental health program / have accepted referrals to behavioral health resources</a:t>
            </a:r>
          </a:p>
          <a:p>
            <a:pPr marL="285750" indent="-285750" defTabSz="73146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Average time between trigger/enrollment/education for </a:t>
            </a:r>
            <a:r>
              <a:rPr lang="en-US" sz="140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74%</a:t>
            </a:r>
            <a:r>
              <a:rPr lang="en-US" sz="1400" b="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 of members was </a:t>
            </a:r>
            <a:r>
              <a:rPr lang="en-US" sz="140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less than 3 days</a:t>
            </a:r>
            <a:endParaRPr lang="en-US" sz="1400" b="0" dirty="0">
              <a:solidFill>
                <a:srgbClr val="58585A">
                  <a:lumMod val="50000"/>
                </a:srgbClr>
              </a:solidFill>
              <a:latin typeface="Arial" panose="020B0604020202020204"/>
            </a:endParaRPr>
          </a:p>
          <a:p>
            <a:pPr marL="285750" indent="-285750" defTabSz="73146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Care managers attribute success to timing of outreach, (immediately following ED visit) ensuring </a:t>
            </a:r>
            <a:r>
              <a:rPr lang="en-US" sz="140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swift intervention and support </a:t>
            </a:r>
            <a:r>
              <a:rPr lang="en-US" sz="1400" b="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for individuals in need</a:t>
            </a:r>
          </a:p>
          <a:p>
            <a:pPr marL="285750" indent="-285750" defTabSz="731461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US" sz="1400" b="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Members expressed </a:t>
            </a:r>
            <a:r>
              <a:rPr lang="en-US" sz="140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enhanced satisfaction </a:t>
            </a:r>
            <a:r>
              <a:rPr lang="en-US" sz="1400" b="0" dirty="0">
                <a:solidFill>
                  <a:srgbClr val="58585A">
                    <a:lumMod val="50000"/>
                  </a:srgbClr>
                </a:solidFill>
                <a:latin typeface="Arial" panose="020B0604020202020204"/>
              </a:rPr>
              <a:t>with timely and personalized support, contributing to more positive overall healthcare experience</a:t>
            </a:r>
            <a:endParaRPr lang="en-IE" sz="2000" dirty="0">
              <a:solidFill>
                <a:srgbClr val="58585A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766083-844F-64CF-7A92-791899F443A1}"/>
              </a:ext>
            </a:extLst>
          </p:cNvPr>
          <p:cNvSpPr txBox="1"/>
          <p:nvPr/>
        </p:nvSpPr>
        <p:spPr>
          <a:xfrm>
            <a:off x="661326" y="3831640"/>
            <a:ext cx="66538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731461">
              <a:defRPr/>
            </a:pPr>
            <a:r>
              <a:rPr lang="en-GB" sz="2000" b="1" dirty="0">
                <a:solidFill>
                  <a:srgbClr val="F58220"/>
                </a:solidFill>
                <a:latin typeface="Arial" panose="020B0604020202020204"/>
              </a:rPr>
              <a:t>Reduced medical costs estimated for emergency room and inpatient visit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D7A8389-5E2C-43D3-549B-F8DAE4F85C0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046498" y="5885501"/>
            <a:ext cx="603504" cy="603504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C49F78E8-65CC-A9B5-4D10-75786AF9B70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022222" y="4247758"/>
            <a:ext cx="603504" cy="603504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44487FE-A128-CC08-DEA4-4BF48C3F62C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51112" y="5424058"/>
            <a:ext cx="640080" cy="64008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A11B447E-B544-F5A8-C93D-0020AC37FCA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579296" y="5424058"/>
            <a:ext cx="640080" cy="64008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5ACBB402-8898-E9F6-422A-00EE0835B863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05881" y="5424058"/>
            <a:ext cx="640080" cy="640080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C9B5CB9F-A13D-B68B-7491-38A6B2982556}"/>
              </a:ext>
            </a:extLst>
          </p:cNvPr>
          <p:cNvSpPr/>
          <p:nvPr/>
        </p:nvSpPr>
        <p:spPr>
          <a:xfrm>
            <a:off x="5796191" y="6172505"/>
            <a:ext cx="1659460" cy="508802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3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DT Feed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A748FF3B-F0A4-895C-6A70-76E1FF52C30C}"/>
              </a:ext>
            </a:extLst>
          </p:cNvPr>
          <p:cNvSpPr/>
          <p:nvPr/>
        </p:nvSpPr>
        <p:spPr>
          <a:xfrm>
            <a:off x="8069607" y="6172505"/>
            <a:ext cx="1659460" cy="508802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3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erial Data Platform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CAE504BA-B651-8280-94B4-785A2DBDB093}"/>
              </a:ext>
            </a:extLst>
          </p:cNvPr>
          <p:cNvSpPr/>
          <p:nvPr/>
        </p:nvSpPr>
        <p:spPr>
          <a:xfrm>
            <a:off x="10341422" y="6172505"/>
            <a:ext cx="1659460" cy="508802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3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erial Clinical Intelligence Engine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19D0772C-85D8-54C3-740A-B80FD8EFC17A}"/>
              </a:ext>
            </a:extLst>
          </p:cNvPr>
          <p:cNvSpPr/>
          <p:nvPr/>
        </p:nvSpPr>
        <p:spPr>
          <a:xfrm>
            <a:off x="12510429" y="5013962"/>
            <a:ext cx="1659460" cy="672689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3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erial Connect Emails / Text Member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5992AE69-2B38-5FF0-8399-CB230E9C0CF4}"/>
              </a:ext>
            </a:extLst>
          </p:cNvPr>
          <p:cNvSpPr/>
          <p:nvPr/>
        </p:nvSpPr>
        <p:spPr>
          <a:xfrm>
            <a:off x="12510429" y="6589607"/>
            <a:ext cx="1659460" cy="508802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3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Task Created in Aerial CM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E52D27F-189E-6AFF-808C-E886E7F1D3AF}"/>
              </a:ext>
            </a:extLst>
          </p:cNvPr>
          <p:cNvCxnSpPr>
            <a:cxnSpLocks/>
          </p:cNvCxnSpPr>
          <p:nvPr/>
        </p:nvCxnSpPr>
        <p:spPr>
          <a:xfrm>
            <a:off x="9729068" y="6426906"/>
            <a:ext cx="613955" cy="0"/>
          </a:xfrm>
          <a:prstGeom prst="line">
            <a:avLst/>
          </a:prstGeom>
          <a:ln w="12700" cap="sq">
            <a:solidFill>
              <a:schemeClr val="bg1">
                <a:lumMod val="65000"/>
              </a:schemeClr>
            </a:solidFill>
            <a:prstDash val="sysDash"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D8E55E-609E-1F83-A3A0-FC468A56FCDD}"/>
              </a:ext>
            </a:extLst>
          </p:cNvPr>
          <p:cNvCxnSpPr>
            <a:cxnSpLocks/>
          </p:cNvCxnSpPr>
          <p:nvPr/>
        </p:nvCxnSpPr>
        <p:spPr>
          <a:xfrm>
            <a:off x="7455652" y="6426906"/>
            <a:ext cx="613955" cy="0"/>
          </a:xfrm>
          <a:prstGeom prst="line">
            <a:avLst/>
          </a:prstGeom>
          <a:ln w="12700" cap="sq">
            <a:solidFill>
              <a:schemeClr val="bg1">
                <a:lumMod val="65000"/>
              </a:schemeClr>
            </a:solidFill>
            <a:prstDash val="sysDash"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>
            <a:extLst>
              <a:ext uri="{FF2B5EF4-FFF2-40B4-BE49-F238E27FC236}">
                <a16:creationId xmlns:a16="http://schemas.microsoft.com/office/drawing/2014/main" id="{1F01B459-05B1-025B-65BB-FAB1F6EBEC86}"/>
              </a:ext>
            </a:extLst>
          </p:cNvPr>
          <p:cNvCxnSpPr>
            <a:cxnSpLocks/>
            <a:stCxn id="33" idx="3"/>
            <a:endCxn id="35" idx="1"/>
          </p:cNvCxnSpPr>
          <p:nvPr/>
        </p:nvCxnSpPr>
        <p:spPr>
          <a:xfrm flipV="1">
            <a:off x="12000881" y="5350308"/>
            <a:ext cx="509548" cy="1076599"/>
          </a:xfrm>
          <a:prstGeom prst="bentConnector3">
            <a:avLst/>
          </a:prstGeom>
          <a:ln w="12700" cap="sq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>
            <a:extLst>
              <a:ext uri="{FF2B5EF4-FFF2-40B4-BE49-F238E27FC236}">
                <a16:creationId xmlns:a16="http://schemas.microsoft.com/office/drawing/2014/main" id="{802C6FE3-FD52-4C31-967F-57E4EFB4EDF9}"/>
              </a:ext>
            </a:extLst>
          </p:cNvPr>
          <p:cNvCxnSpPr>
            <a:cxnSpLocks/>
            <a:stCxn id="33" idx="3"/>
            <a:endCxn id="36" idx="1"/>
          </p:cNvCxnSpPr>
          <p:nvPr/>
        </p:nvCxnSpPr>
        <p:spPr>
          <a:xfrm>
            <a:off x="12000881" y="6426907"/>
            <a:ext cx="509548" cy="417102"/>
          </a:xfrm>
          <a:prstGeom prst="bentConnector3">
            <a:avLst/>
          </a:prstGeom>
          <a:ln w="12700" cap="sq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C35909C7-5800-DC26-313D-97C169F0C5BA}"/>
              </a:ext>
            </a:extLst>
          </p:cNvPr>
          <p:cNvSpPr/>
          <p:nvPr/>
        </p:nvSpPr>
        <p:spPr>
          <a:xfrm>
            <a:off x="754864" y="1329712"/>
            <a:ext cx="3257066" cy="396976"/>
          </a:xfrm>
          <a:prstGeom prst="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400" spc="2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USE CASE: REAL-TIME ADT</a:t>
            </a:r>
          </a:p>
        </p:txBody>
      </p:sp>
    </p:spTree>
    <p:extLst>
      <p:ext uri="{BB962C8B-B14F-4D97-AF65-F5344CB8AC3E}">
        <p14:creationId xmlns:p14="http://schemas.microsoft.com/office/powerpoint/2010/main" val="2713822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712A26-1BF1-DB4E-1767-7090B1C38E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56ACA0-46BB-1C1F-F151-A060B8FAA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97280"/>
            <a:fld id="{B5AF5685-0041-EE47-908D-CBF7B3B5840B}" type="slidenum">
              <a:rPr lang="en-US">
                <a:solidFill>
                  <a:prstClr val="white">
                    <a:lumMod val="50000"/>
                  </a:prstClr>
                </a:solidFill>
              </a:rPr>
              <a:pPr defTabSz="1097280"/>
              <a:t>6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B0B873-72C7-0985-2E4A-AF0E0FCB241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6066" y="2524518"/>
            <a:ext cx="4211047" cy="4859867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>
                <a:solidFill>
                  <a:schemeClr val="bg2"/>
                </a:solidFill>
              </a:rPr>
              <a:t>Why?</a:t>
            </a:r>
          </a:p>
          <a:p>
            <a:r>
              <a:rPr lang="en-US" sz="1400" dirty="0">
                <a:solidFill>
                  <a:schemeClr val="tx2"/>
                </a:solidFill>
              </a:rPr>
              <a:t>Average Medicare Advantage Plan costs $645 PMPM. Maintaining a minimum of 4 stars ensures a 5% bonus, amounting to $12.4 million for 32,000 members. </a:t>
            </a:r>
          </a:p>
          <a:p>
            <a:r>
              <a:rPr lang="en-US" sz="1400" dirty="0">
                <a:solidFill>
                  <a:schemeClr val="tx2"/>
                </a:solidFill>
              </a:rPr>
              <a:t>Additionally, transitioning care services can significantly reduce post-discharge healthcare costs while improving clinical outcomes, such as lowering mortality and readmission rates.</a:t>
            </a:r>
          </a:p>
          <a:p>
            <a:endParaRPr lang="en-US" sz="1400" b="1" dirty="0">
              <a:solidFill>
                <a:schemeClr val="bg2"/>
              </a:solidFill>
            </a:endParaRPr>
          </a:p>
          <a:p>
            <a:pPr marL="0" indent="0">
              <a:buNone/>
            </a:pPr>
            <a:r>
              <a:rPr lang="en-US" sz="1400" b="1" dirty="0">
                <a:solidFill>
                  <a:schemeClr val="bg2"/>
                </a:solidFill>
              </a:rPr>
              <a:t>How?</a:t>
            </a:r>
          </a:p>
          <a:p>
            <a:r>
              <a:rPr lang="en-US" sz="1400" dirty="0">
                <a:solidFill>
                  <a:schemeClr val="tx2"/>
                </a:solidFill>
              </a:rPr>
              <a:t>By coordinating closely between health plans and providers. Utilizing near real-time ADT data helps to promptly identify high-risk members who have recently visited the emergency department (ED). </a:t>
            </a:r>
          </a:p>
          <a:p>
            <a:r>
              <a:rPr lang="en-US" sz="1400" dirty="0">
                <a:solidFill>
                  <a:schemeClr val="tx2"/>
                </a:solidFill>
              </a:rPr>
              <a:t>This swift identification allows for immediate communication between care managers and the member’s PCP, significantly increasing the likelihood of a follow-up visit to their PCP within 7 days after an ED visit.</a:t>
            </a:r>
          </a:p>
          <a:p>
            <a:endParaRPr lang="en-US" sz="1400" dirty="0"/>
          </a:p>
          <a:p>
            <a:endParaRPr lang="en-US" sz="1400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99EDD47-BE4B-DB70-B441-A32F8D2C9A7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4244" y="5124799"/>
            <a:ext cx="548640" cy="54864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DFEFB8AC-A819-9F3A-1D21-EF179DAD569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85236" y="5082254"/>
            <a:ext cx="548640" cy="54864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F4AD4267-CA75-9DA5-DF7E-CEC69C691D2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36459" y="4356092"/>
            <a:ext cx="548640" cy="548640"/>
          </a:xfrm>
          <a:prstGeom prst="rect">
            <a:avLst/>
          </a:prstGeom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386BD602-966A-5470-B775-4056403D6513}"/>
              </a:ext>
            </a:extLst>
          </p:cNvPr>
          <p:cNvSpPr/>
          <p:nvPr/>
        </p:nvSpPr>
        <p:spPr>
          <a:xfrm>
            <a:off x="5561779" y="5036699"/>
            <a:ext cx="640213" cy="344306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DTs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9B91C71-2B39-D014-92C8-5C228FB9F703}"/>
              </a:ext>
            </a:extLst>
          </p:cNvPr>
          <p:cNvSpPr/>
          <p:nvPr/>
        </p:nvSpPr>
        <p:spPr>
          <a:xfrm>
            <a:off x="7117751" y="5761812"/>
            <a:ext cx="1483613" cy="641863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erial Data Platform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6FC50A8-CEBE-35BE-09DC-83C2321FC51C}"/>
              </a:ext>
            </a:extLst>
          </p:cNvPr>
          <p:cNvSpPr/>
          <p:nvPr/>
        </p:nvSpPr>
        <p:spPr>
          <a:xfrm>
            <a:off x="9146933" y="5784693"/>
            <a:ext cx="1323263" cy="596587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erial Clinical Intelligence Engin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9FDC888-4059-9252-1747-88D64F5BDC8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48920" y="5860108"/>
            <a:ext cx="548640" cy="548640"/>
          </a:xfrm>
          <a:prstGeom prst="rect">
            <a:avLst/>
          </a:prstGeom>
        </p:spPr>
      </p:pic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DC8BD6E-0B34-E539-3E8A-FA3F8CD806A2}"/>
              </a:ext>
            </a:extLst>
          </p:cNvPr>
          <p:cNvSpPr/>
          <p:nvPr/>
        </p:nvSpPr>
        <p:spPr>
          <a:xfrm>
            <a:off x="5290846" y="6523632"/>
            <a:ext cx="1239866" cy="508802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Members and Providers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A97C4B75-ED24-FCD1-00BC-67EBC1C019DA}"/>
              </a:ext>
            </a:extLst>
          </p:cNvPr>
          <p:cNvSpPr/>
          <p:nvPr/>
        </p:nvSpPr>
        <p:spPr>
          <a:xfrm>
            <a:off x="7238232" y="6323856"/>
            <a:ext cx="1239868" cy="635366"/>
          </a:xfrm>
          <a:prstGeom prst="roundRect">
            <a:avLst/>
          </a:prstGeom>
          <a:solidFill>
            <a:schemeClr val="bg1"/>
          </a:solidFill>
          <a:ln w="12700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srgbClr val="58585A">
                    <a:lumMod val="50000"/>
                  </a:srgbClr>
                </a:solidFill>
                <a:latin typeface="Arial" charset="0"/>
                <a:ea typeface="Arial" charset="0"/>
                <a:cs typeface="Arial" charset="0"/>
              </a:rPr>
              <a:t>PCP Assignment Options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B74359DA-7876-CBC6-B425-1C72F36715D6}"/>
              </a:ext>
            </a:extLst>
          </p:cNvPr>
          <p:cNvSpPr/>
          <p:nvPr/>
        </p:nvSpPr>
        <p:spPr>
          <a:xfrm>
            <a:off x="11183614" y="4954450"/>
            <a:ext cx="1373899" cy="557540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Care Manager Notification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4842BED9-9403-3F6E-9693-1F2D5FE8859C}"/>
              </a:ext>
            </a:extLst>
          </p:cNvPr>
          <p:cNvSpPr/>
          <p:nvPr/>
        </p:nvSpPr>
        <p:spPr>
          <a:xfrm>
            <a:off x="11183614" y="6523632"/>
            <a:ext cx="1373899" cy="508802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PCP Notification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1A5C8668-2146-4446-20DF-60B95D7B32EB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596242" y="5868032"/>
            <a:ext cx="548640" cy="54864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555A17E1-63FB-9E65-9078-C0646B1CED4D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596242" y="4283066"/>
            <a:ext cx="548640" cy="548640"/>
          </a:xfrm>
          <a:prstGeom prst="rect">
            <a:avLst/>
          </a:prstGeom>
        </p:spPr>
      </p:pic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2E15FF32-0BCF-974D-0E06-8A25AAF3FDF2}"/>
              </a:ext>
            </a:extLst>
          </p:cNvPr>
          <p:cNvSpPr/>
          <p:nvPr/>
        </p:nvSpPr>
        <p:spPr>
          <a:xfrm>
            <a:off x="12421087" y="4914003"/>
            <a:ext cx="1120218" cy="286502"/>
          </a:xfrm>
          <a:prstGeom prst="roundRect">
            <a:avLst/>
          </a:prstGeom>
          <a:solidFill>
            <a:schemeClr val="bg1"/>
          </a:solidFill>
          <a:ln w="12700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srgbClr val="58585A">
                    <a:lumMod val="50000"/>
                  </a:srgbClr>
                </a:solidFill>
                <a:latin typeface="Arial" charset="0"/>
                <a:ea typeface="Arial" charset="0"/>
                <a:cs typeface="Arial" charset="0"/>
              </a:rPr>
              <a:t>Alerts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4C7C7246-BB29-E18A-D142-0B860C7A62E3}"/>
              </a:ext>
            </a:extLst>
          </p:cNvPr>
          <p:cNvSpPr/>
          <p:nvPr/>
        </p:nvSpPr>
        <p:spPr>
          <a:xfrm>
            <a:off x="12421086" y="5294968"/>
            <a:ext cx="1440316" cy="286502"/>
          </a:xfrm>
          <a:prstGeom prst="roundRect">
            <a:avLst/>
          </a:prstGeom>
          <a:solidFill>
            <a:schemeClr val="bg1"/>
          </a:solidFill>
          <a:ln w="12700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srgbClr val="58585A">
                    <a:lumMod val="50000"/>
                  </a:srgbClr>
                </a:solidFill>
                <a:latin typeface="Arial" charset="0"/>
                <a:ea typeface="Arial" charset="0"/>
                <a:cs typeface="Arial" charset="0"/>
              </a:rPr>
              <a:t>ADT Summary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E321FCB-4A9E-7B4D-3FAA-81A2EE7F49A8}"/>
              </a:ext>
            </a:extLst>
          </p:cNvPr>
          <p:cNvSpPr/>
          <p:nvPr/>
        </p:nvSpPr>
        <p:spPr>
          <a:xfrm>
            <a:off x="12425259" y="6470631"/>
            <a:ext cx="1120218" cy="286502"/>
          </a:xfrm>
          <a:prstGeom prst="roundRect">
            <a:avLst/>
          </a:prstGeom>
          <a:solidFill>
            <a:schemeClr val="bg1"/>
          </a:solidFill>
          <a:ln w="12700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srgbClr val="58585A">
                    <a:lumMod val="50000"/>
                  </a:srgbClr>
                </a:solidFill>
                <a:latin typeface="Arial" charset="0"/>
                <a:ea typeface="Arial" charset="0"/>
                <a:cs typeface="Arial" charset="0"/>
              </a:rPr>
              <a:t>Fax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B78929F7-9C4B-951C-48E1-AB16991ABD00}"/>
              </a:ext>
            </a:extLst>
          </p:cNvPr>
          <p:cNvSpPr/>
          <p:nvPr/>
        </p:nvSpPr>
        <p:spPr>
          <a:xfrm>
            <a:off x="12425259" y="6851595"/>
            <a:ext cx="1599708" cy="346183"/>
          </a:xfrm>
          <a:prstGeom prst="roundRect">
            <a:avLst/>
          </a:prstGeom>
          <a:solidFill>
            <a:schemeClr val="bg1"/>
          </a:solidFill>
          <a:ln w="12700" cap="rnd">
            <a:solidFill>
              <a:schemeClr val="bg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srgbClr val="58585A">
                    <a:lumMod val="50000"/>
                  </a:srgbClr>
                </a:solidFill>
                <a:latin typeface="Arial" charset="0"/>
                <a:ea typeface="Arial" charset="0"/>
                <a:cs typeface="Arial" charset="0"/>
              </a:rPr>
              <a:t>Direct Message to Secure Inbox</a:t>
            </a:r>
          </a:p>
        </p:txBody>
      </p:sp>
      <p:cxnSp>
        <p:nvCxnSpPr>
          <p:cNvPr id="36" name="Elbow Connector 35">
            <a:extLst>
              <a:ext uri="{FF2B5EF4-FFF2-40B4-BE49-F238E27FC236}">
                <a16:creationId xmlns:a16="http://schemas.microsoft.com/office/drawing/2014/main" id="{A20B7E26-87A9-E1E8-11B7-01615E951EDD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>
            <a:off x="6201992" y="5208852"/>
            <a:ext cx="915760" cy="873892"/>
          </a:xfrm>
          <a:prstGeom prst="bentConnector3">
            <a:avLst>
              <a:gd name="adj1" fmla="val 67500"/>
            </a:avLst>
          </a:prstGeom>
          <a:ln w="12700" cap="sq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>
            <a:extLst>
              <a:ext uri="{FF2B5EF4-FFF2-40B4-BE49-F238E27FC236}">
                <a16:creationId xmlns:a16="http://schemas.microsoft.com/office/drawing/2014/main" id="{9BA0B6EF-8384-3AAA-041F-B627465D386D}"/>
              </a:ext>
            </a:extLst>
          </p:cNvPr>
          <p:cNvCxnSpPr>
            <a:cxnSpLocks/>
            <a:stCxn id="17" idx="2"/>
            <a:endCxn id="13" idx="1"/>
          </p:cNvCxnSpPr>
          <p:nvPr/>
        </p:nvCxnSpPr>
        <p:spPr>
          <a:xfrm rot="5400000" flipH="1" flipV="1">
            <a:off x="6039419" y="5954104"/>
            <a:ext cx="949690" cy="1206971"/>
          </a:xfrm>
          <a:prstGeom prst="bentConnector4">
            <a:avLst>
              <a:gd name="adj1" fmla="val -24071"/>
              <a:gd name="adj2" fmla="val 75681"/>
            </a:avLst>
          </a:prstGeom>
          <a:ln w="12700" cap="sq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8FC58966-BE7E-8EAC-E712-AF4F008714B9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 flipV="1">
            <a:off x="10470196" y="5233220"/>
            <a:ext cx="713418" cy="849766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>
            <a:extLst>
              <a:ext uri="{FF2B5EF4-FFF2-40B4-BE49-F238E27FC236}">
                <a16:creationId xmlns:a16="http://schemas.microsoft.com/office/drawing/2014/main" id="{2BE57CBF-E141-7904-7AF2-1FE327DF08AE}"/>
              </a:ext>
            </a:extLst>
          </p:cNvPr>
          <p:cNvCxnSpPr>
            <a:cxnSpLocks/>
            <a:stCxn id="14" idx="3"/>
            <a:endCxn id="22" idx="1"/>
          </p:cNvCxnSpPr>
          <p:nvPr/>
        </p:nvCxnSpPr>
        <p:spPr>
          <a:xfrm>
            <a:off x="10470196" y="6082986"/>
            <a:ext cx="713418" cy="695047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bg1">
                <a:lumMod val="65000"/>
              </a:schemeClr>
            </a:solidFill>
            <a:prstDash val="sys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73A2E12-B1E8-3DEC-681F-E528123BEC5B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>
            <a:off x="8601364" y="6082744"/>
            <a:ext cx="545569" cy="242"/>
          </a:xfrm>
          <a:prstGeom prst="line">
            <a:avLst/>
          </a:prstGeom>
          <a:ln w="12700" cap="sq">
            <a:solidFill>
              <a:schemeClr val="bg1">
                <a:lumMod val="65000"/>
              </a:schemeClr>
            </a:solidFill>
            <a:prstDash val="sysDash"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5CA62544-43FA-9901-805B-C41954CB7456}"/>
              </a:ext>
            </a:extLst>
          </p:cNvPr>
          <p:cNvSpPr txBox="1">
            <a:spLocks/>
          </p:cNvSpPr>
          <p:nvPr/>
        </p:nvSpPr>
        <p:spPr>
          <a:xfrm>
            <a:off x="654050" y="1861131"/>
            <a:ext cx="13553439" cy="610110"/>
          </a:xfrm>
          <a:prstGeom prst="rect">
            <a:avLst/>
          </a:prstGeom>
        </p:spPr>
        <p:txBody>
          <a:bodyPr anchor="ctr"/>
          <a:lstStyle>
            <a:lvl1pPr marL="0" indent="0" algn="l" defTabSz="731520" rtl="0" eaLnBrk="1" latinLnBrk="0" hangingPunct="1">
              <a:spcBef>
                <a:spcPts val="900"/>
              </a:spcBef>
              <a:buClr>
                <a:schemeClr val="tx1"/>
              </a:buClr>
              <a:buFont typeface="Arial" charset="0"/>
              <a:buNone/>
              <a:defRPr sz="1800" b="0" i="0" kern="120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731520" indent="-274320" algn="l" defTabSz="731520" rtl="0" eaLnBrk="1" latinLnBrk="0" hangingPunct="1">
              <a:spcBef>
                <a:spcPts val="600"/>
              </a:spcBef>
              <a:buClr>
                <a:schemeClr val="tx1"/>
              </a:buClr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2pPr>
            <a:lvl3pPr marL="1188720" indent="-274320" algn="l" defTabSz="731520" rtl="0" eaLnBrk="1" latinLnBrk="0" hangingPunct="1">
              <a:spcBef>
                <a:spcPts val="600"/>
              </a:spcBef>
              <a:buClr>
                <a:schemeClr val="tx1"/>
              </a:buClr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3pPr>
            <a:lvl4pPr marL="2560320" indent="-365760" algn="l" defTabSz="731520" rtl="0" eaLnBrk="1" latinLnBrk="0" hangingPunct="1">
              <a:spcBef>
                <a:spcPts val="600"/>
              </a:spcBef>
              <a:buFont typeface="Arial"/>
              <a:buChar char="–"/>
              <a:defRPr sz="26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3291840" indent="-365760" algn="l" defTabSz="731520" rtl="0" eaLnBrk="1" latinLnBrk="0" hangingPunct="1">
              <a:spcBef>
                <a:spcPts val="600"/>
              </a:spcBef>
              <a:buFont typeface="Arial"/>
              <a:buChar char="»"/>
              <a:defRPr sz="26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023360" indent="-36576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54880" indent="-36576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86400" indent="-36576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17920" indent="-365760" algn="l" defTabSz="73152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77824">
              <a:spcBef>
                <a:spcPts val="1080"/>
              </a:spcBef>
              <a:buClr>
                <a:srgbClr val="58585A"/>
              </a:buClr>
            </a:pPr>
            <a:r>
              <a:rPr lang="en-US" sz="2800" b="1" dirty="0">
                <a:solidFill>
                  <a:srgbClr val="242563"/>
                </a:solidFill>
              </a:rPr>
              <a:t>Improving health plan and provider coordination to boost STAR measur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BF55F71-EF01-9E1B-2EDA-E17793D0A761}"/>
              </a:ext>
            </a:extLst>
          </p:cNvPr>
          <p:cNvSpPr/>
          <p:nvPr/>
        </p:nvSpPr>
        <p:spPr>
          <a:xfrm>
            <a:off x="754864" y="1329712"/>
            <a:ext cx="4320056" cy="396976"/>
          </a:xfrm>
          <a:prstGeom prst="rect">
            <a:avLst/>
          </a:prstGeom>
          <a:solidFill>
            <a:schemeClr val="bg2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400" spc="2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USE CASE: VALUE-BASED CA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35D942-3F93-5952-4656-8287C58A9037}"/>
              </a:ext>
            </a:extLst>
          </p:cNvPr>
          <p:cNvSpPr txBox="1"/>
          <p:nvPr/>
        </p:nvSpPr>
        <p:spPr>
          <a:xfrm>
            <a:off x="5355111" y="3466141"/>
            <a:ext cx="86698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Improve Current 2 STAR Rating for Part C Measure: </a:t>
            </a:r>
          </a:p>
          <a:p>
            <a:r>
              <a:rPr lang="en-US" sz="1600" b="1" dirty="0">
                <a:solidFill>
                  <a:schemeClr val="tx2"/>
                </a:solidFill>
              </a:rPr>
              <a:t>“Follow-up After ED Visit for People with Multiple High-Risk Chronic Conditions”</a:t>
            </a:r>
          </a:p>
        </p:txBody>
      </p:sp>
      <p:sp>
        <p:nvSpPr>
          <p:cNvPr id="2" name="Rounded Rectangle 11">
            <a:extLst>
              <a:ext uri="{FF2B5EF4-FFF2-40B4-BE49-F238E27FC236}">
                <a16:creationId xmlns:a16="http://schemas.microsoft.com/office/drawing/2014/main" id="{D28FF033-AAD0-49D8-C919-143BABD1AB77}"/>
              </a:ext>
            </a:extLst>
          </p:cNvPr>
          <p:cNvSpPr/>
          <p:nvPr/>
        </p:nvSpPr>
        <p:spPr>
          <a:xfrm>
            <a:off x="5455762" y="3054437"/>
            <a:ext cx="1292908" cy="344306"/>
          </a:xfrm>
          <a:prstGeom prst="roundRect">
            <a:avLst/>
          </a:prstGeom>
          <a:solidFill>
            <a:schemeClr val="accent1"/>
          </a:solidFill>
          <a:ln w="38100" cap="rnd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/>
            <a:r>
              <a:rPr lang="en-US" sz="110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T A R G E T</a:t>
            </a:r>
          </a:p>
        </p:txBody>
      </p:sp>
    </p:spTree>
    <p:extLst>
      <p:ext uri="{BB962C8B-B14F-4D97-AF65-F5344CB8AC3E}">
        <p14:creationId xmlns:p14="http://schemas.microsoft.com/office/powerpoint/2010/main" val="40691996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F364F89E-CEAC-3357-009B-253207752B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62581" y="-1486700"/>
            <a:ext cx="11949380" cy="11949380"/>
          </a:xfrm>
          <a:prstGeom prst="rect">
            <a:avLst/>
          </a:prstGeom>
        </p:spPr>
      </p:pic>
      <p:pic>
        <p:nvPicPr>
          <p:cNvPr id="8" name="Picture 13">
            <a:extLst>
              <a:ext uri="{FF2B5EF4-FFF2-40B4-BE49-F238E27FC236}">
                <a16:creationId xmlns:a16="http://schemas.microsoft.com/office/drawing/2014/main" id="{464E34D4-8700-88AA-D82D-F3814FDA00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29242" y="271335"/>
            <a:ext cx="1234129" cy="3256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67833B6-2EBF-4A88-8A05-946905E58C58}"/>
              </a:ext>
            </a:extLst>
          </p:cNvPr>
          <p:cNvCxnSpPr>
            <a:cxnSpLocks/>
          </p:cNvCxnSpPr>
          <p:nvPr/>
        </p:nvCxnSpPr>
        <p:spPr>
          <a:xfrm>
            <a:off x="729241" y="821596"/>
            <a:ext cx="13171918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6746366-1A90-8630-30AB-9892EB9E0FC8}"/>
              </a:ext>
            </a:extLst>
          </p:cNvPr>
          <p:cNvSpPr txBox="1">
            <a:spLocks/>
          </p:cNvSpPr>
          <p:nvPr/>
        </p:nvSpPr>
        <p:spPr>
          <a:xfrm>
            <a:off x="9082358" y="324406"/>
            <a:ext cx="3990169" cy="2194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b="0" i="0" kern="1200">
                <a:solidFill>
                  <a:schemeClr val="tx2"/>
                </a:solidFill>
                <a:latin typeface="Aerial" panose="00000400000000000000" pitchFamily="2" charset="0"/>
                <a:ea typeface="Aerial" panose="00000400000000000000" pitchFamily="2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/>
            <a:r>
              <a:rPr lang="en-US" sz="840" dirty="0">
                <a:solidFill>
                  <a:srgbClr val="969696"/>
                </a:solidFill>
                <a:latin typeface="Manrope" pitchFamily="2" charset="0"/>
                <a:cs typeface="Arial" panose="020B0604020202020204" pitchFamily="34" charset="0"/>
              </a:rPr>
              <a:t>© 2024 MEDECISION, INC. PROPRIETARY AND CONFIDENTIAL</a:t>
            </a: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C4803542-1238-993E-C1E4-F393EEE73A87}"/>
              </a:ext>
            </a:extLst>
          </p:cNvPr>
          <p:cNvSpPr txBox="1">
            <a:spLocks/>
          </p:cNvSpPr>
          <p:nvPr/>
        </p:nvSpPr>
        <p:spPr>
          <a:xfrm>
            <a:off x="13308037" y="360268"/>
            <a:ext cx="593122" cy="1477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/>
            <a:fld id="{0C691DA3-4ABE-49F3-91E6-D9975CC9DD5F}" type="slidenum">
              <a:rPr lang="en-US" sz="960">
                <a:solidFill>
                  <a:srgbClr val="F58220"/>
                </a:solidFill>
                <a:latin typeface="Manrope" pitchFamily="2" charset="0"/>
              </a:rPr>
              <a:pPr defTabSz="1097280"/>
              <a:t>7</a:t>
            </a:fld>
            <a:endParaRPr lang="en-US" sz="960">
              <a:solidFill>
                <a:srgbClr val="F58220"/>
              </a:solidFill>
              <a:latin typeface="Manrope" pitchFamily="2" charset="0"/>
            </a:endParaRP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AAE7DA22-DC57-80CC-646D-ADDECDFB83F7}"/>
              </a:ext>
            </a:extLst>
          </p:cNvPr>
          <p:cNvSpPr txBox="1">
            <a:spLocks/>
          </p:cNvSpPr>
          <p:nvPr/>
        </p:nvSpPr>
        <p:spPr>
          <a:xfrm>
            <a:off x="654051" y="1780087"/>
            <a:ext cx="13247108" cy="1255907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274298" indent="-274298" algn="l" defTabSz="731461" rtl="0" eaLnBrk="1" latinLnBrk="0" hangingPunct="1">
              <a:spcBef>
                <a:spcPts val="900"/>
              </a:spcBef>
              <a:buClr>
                <a:schemeClr val="tx1"/>
              </a:buClr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1pPr>
            <a:lvl2pPr marL="731461" indent="-274298" algn="l" defTabSz="731461" rtl="0" eaLnBrk="1" latinLnBrk="0" hangingPunct="1">
              <a:spcBef>
                <a:spcPts val="600"/>
              </a:spcBef>
              <a:buClr>
                <a:schemeClr val="tx1"/>
              </a:buClr>
              <a:buFont typeface="Arial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2pPr>
            <a:lvl3pPr marL="1188624" indent="-274298" algn="l" defTabSz="731461" rtl="0" eaLnBrk="1" latinLnBrk="0" hangingPunct="1">
              <a:spcBef>
                <a:spcPts val="600"/>
              </a:spcBef>
              <a:buClr>
                <a:schemeClr val="tx1"/>
              </a:buClr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charset="0"/>
              </a:defRPr>
            </a:lvl3pPr>
            <a:lvl4pPr marL="2560116" indent="-365731" algn="l" defTabSz="731461" rtl="0" eaLnBrk="1" latinLnBrk="0" hangingPunct="1">
              <a:spcBef>
                <a:spcPts val="600"/>
              </a:spcBef>
              <a:buFont typeface="Arial"/>
              <a:buChar char="–"/>
              <a:defRPr sz="26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marL="3291576" indent="-365731" algn="l" defTabSz="731461" rtl="0" eaLnBrk="1" latinLnBrk="0" hangingPunct="1">
              <a:spcBef>
                <a:spcPts val="600"/>
              </a:spcBef>
              <a:buFont typeface="Arial"/>
              <a:buChar char="»"/>
              <a:defRPr sz="2600" kern="12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023038" indent="-365731" algn="l" defTabSz="731461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54500" indent="-365731" algn="l" defTabSz="731461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85961" indent="-365731" algn="l" defTabSz="731461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17423" indent="-365731" algn="l" defTabSz="731461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5400" dirty="0">
                <a:solidFill>
                  <a:schemeClr val="bg1"/>
                </a:solidFill>
              </a:rPr>
              <a:t>Questions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AC6212-031D-AFB6-5F45-9046752358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241" y="4114800"/>
            <a:ext cx="9928805" cy="272278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0C6168-5B3A-37CF-631A-D04A9A7080A8}"/>
              </a:ext>
            </a:extLst>
          </p:cNvPr>
          <p:cNvCxnSpPr/>
          <p:nvPr/>
        </p:nvCxnSpPr>
        <p:spPr>
          <a:xfrm>
            <a:off x="11062814" y="4114800"/>
            <a:ext cx="0" cy="2763078"/>
          </a:xfrm>
          <a:prstGeom prst="line">
            <a:avLst/>
          </a:prstGeom>
          <a:ln w="19050" cap="sq">
            <a:solidFill>
              <a:schemeClr val="bg2"/>
            </a:solidFill>
            <a:prstDash val="solid"/>
            <a:headEnd type="none" w="med" len="med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735D0B1-D2AD-701D-769B-9A5AC69093FF}"/>
              </a:ext>
            </a:extLst>
          </p:cNvPr>
          <p:cNvSpPr/>
          <p:nvPr/>
        </p:nvSpPr>
        <p:spPr>
          <a:xfrm>
            <a:off x="11467583" y="5153169"/>
            <a:ext cx="2743200" cy="914400"/>
          </a:xfrm>
          <a:prstGeom prst="roundRect">
            <a:avLst/>
          </a:prstGeom>
          <a:solidFill>
            <a:schemeClr val="bg2"/>
          </a:solidFill>
          <a:ln w="38100" cap="rnd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Request a Demo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www.medecision.com</a:t>
            </a:r>
          </a:p>
        </p:txBody>
      </p:sp>
    </p:spTree>
    <p:extLst>
      <p:ext uri="{BB962C8B-B14F-4D97-AF65-F5344CB8AC3E}">
        <p14:creationId xmlns:p14="http://schemas.microsoft.com/office/powerpoint/2010/main" val="248336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1099B5E-43AC-D6A0-D18E-DA2CBC2F6D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654049" y="2837517"/>
            <a:ext cx="10532506" cy="420956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pyright © 2024 by Medecision, Inc. All rights reserved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No parts of this document may be reproduced, transmitted, or stored electronically without Medecision’s prior written permission. </a:t>
            </a:r>
            <a:br>
              <a:rPr lang="en-US" dirty="0"/>
            </a:br>
            <a:endParaRPr lang="en-US" dirty="0"/>
          </a:p>
          <a:p>
            <a:pPr marL="0" marR="0" lvl="0" indent="0" algn="l" defTabSz="73152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SzTx/>
              <a:buFont typeface="Arial" charset="0"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This document contains Medecision’s confidential or proprietary information. </a:t>
            </a:r>
            <a:br>
              <a:rPr lang="en-US" sz="18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</a:br>
            <a:br>
              <a:rPr lang="en-US" sz="18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</a:br>
            <a:r>
              <a:rPr lang="en-US" sz="18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By accepting this document, you agree that: (A)(1) if a pre-existing contract containing disclosure and use restrictions exists between your company and Medecision, you and your company will use this information subject to the terms of the pre-existing contract; or (2) if no such pre-existing contract exists, you and your Company agree to protect this information and not reproduce or disclose the information in any way; and (B) Medecision makes no warranties, express or implied, in this document, and Medecision shall not be liable for damages of any kind arising out of use of this document.</a:t>
            </a:r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0E3F83AA-CCD0-B2E1-D181-8A01D9B270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654050" y="1694431"/>
            <a:ext cx="10532506" cy="93799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Medecision Proprietary and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746595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24 Master Slide">
  <a:themeElements>
    <a:clrScheme name="Custom 79">
      <a:dk1>
        <a:srgbClr val="58585A"/>
      </a:dk1>
      <a:lt1>
        <a:sysClr val="window" lastClr="FFFFFF"/>
      </a:lt1>
      <a:dk2>
        <a:srgbClr val="58585A"/>
      </a:dk2>
      <a:lt2>
        <a:srgbClr val="F58220"/>
      </a:lt2>
      <a:accent1>
        <a:srgbClr val="242563"/>
      </a:accent1>
      <a:accent2>
        <a:srgbClr val="58585A"/>
      </a:accent2>
      <a:accent3>
        <a:srgbClr val="D9107D"/>
      </a:accent3>
      <a:accent4>
        <a:srgbClr val="A20055"/>
      </a:accent4>
      <a:accent5>
        <a:srgbClr val="F58220"/>
      </a:accent5>
      <a:accent6>
        <a:srgbClr val="FAA61A"/>
      </a:accent6>
      <a:hlink>
        <a:srgbClr val="58585A"/>
      </a:hlink>
      <a:folHlink>
        <a:srgbClr val="444FA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non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2024 Master Slide">
  <a:themeElements>
    <a:clrScheme name="Custom 79">
      <a:dk1>
        <a:srgbClr val="58585A"/>
      </a:dk1>
      <a:lt1>
        <a:sysClr val="window" lastClr="FFFFFF"/>
      </a:lt1>
      <a:dk2>
        <a:srgbClr val="58585A"/>
      </a:dk2>
      <a:lt2>
        <a:srgbClr val="F58220"/>
      </a:lt2>
      <a:accent1>
        <a:srgbClr val="242563"/>
      </a:accent1>
      <a:accent2>
        <a:srgbClr val="58585A"/>
      </a:accent2>
      <a:accent3>
        <a:srgbClr val="D9107D"/>
      </a:accent3>
      <a:accent4>
        <a:srgbClr val="A20055"/>
      </a:accent4>
      <a:accent5>
        <a:srgbClr val="F58220"/>
      </a:accent5>
      <a:accent6>
        <a:srgbClr val="FAA61A"/>
      </a:accent6>
      <a:hlink>
        <a:srgbClr val="58585A"/>
      </a:hlink>
      <a:folHlink>
        <a:srgbClr val="444FA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non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2024 Master Slide">
  <a:themeElements>
    <a:clrScheme name="Custom 79">
      <a:dk1>
        <a:srgbClr val="58585A"/>
      </a:dk1>
      <a:lt1>
        <a:sysClr val="window" lastClr="FFFFFF"/>
      </a:lt1>
      <a:dk2>
        <a:srgbClr val="58585A"/>
      </a:dk2>
      <a:lt2>
        <a:srgbClr val="F58220"/>
      </a:lt2>
      <a:accent1>
        <a:srgbClr val="242563"/>
      </a:accent1>
      <a:accent2>
        <a:srgbClr val="58585A"/>
      </a:accent2>
      <a:accent3>
        <a:srgbClr val="D9107D"/>
      </a:accent3>
      <a:accent4>
        <a:srgbClr val="A20055"/>
      </a:accent4>
      <a:accent5>
        <a:srgbClr val="F58220"/>
      </a:accent5>
      <a:accent6>
        <a:srgbClr val="FAA61A"/>
      </a:accent6>
      <a:hlink>
        <a:srgbClr val="58585A"/>
      </a:hlink>
      <a:folHlink>
        <a:srgbClr val="444FA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non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5_2024 Master Slide">
  <a:themeElements>
    <a:clrScheme name="Custom 79">
      <a:dk1>
        <a:srgbClr val="58585A"/>
      </a:dk1>
      <a:lt1>
        <a:sysClr val="window" lastClr="FFFFFF"/>
      </a:lt1>
      <a:dk2>
        <a:srgbClr val="58585A"/>
      </a:dk2>
      <a:lt2>
        <a:srgbClr val="F58220"/>
      </a:lt2>
      <a:accent1>
        <a:srgbClr val="242563"/>
      </a:accent1>
      <a:accent2>
        <a:srgbClr val="58585A"/>
      </a:accent2>
      <a:accent3>
        <a:srgbClr val="D9107D"/>
      </a:accent3>
      <a:accent4>
        <a:srgbClr val="A20055"/>
      </a:accent4>
      <a:accent5>
        <a:srgbClr val="F58220"/>
      </a:accent5>
      <a:accent6>
        <a:srgbClr val="FAA61A"/>
      </a:accent6>
      <a:hlink>
        <a:srgbClr val="58585A"/>
      </a:hlink>
      <a:folHlink>
        <a:srgbClr val="444FA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non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Medecision Grey PPT Template ">
  <a:themeElements>
    <a:clrScheme name="Custom 65">
      <a:dk1>
        <a:srgbClr val="D9107D"/>
      </a:dk1>
      <a:lt1>
        <a:sysClr val="window" lastClr="FFFFFF"/>
      </a:lt1>
      <a:dk2>
        <a:srgbClr val="58585A"/>
      </a:dk2>
      <a:lt2>
        <a:srgbClr val="F58220"/>
      </a:lt2>
      <a:accent1>
        <a:srgbClr val="D9107D"/>
      </a:accent1>
      <a:accent2>
        <a:srgbClr val="A20055"/>
      </a:accent2>
      <a:accent3>
        <a:srgbClr val="242563"/>
      </a:accent3>
      <a:accent4>
        <a:srgbClr val="F58220"/>
      </a:accent4>
      <a:accent5>
        <a:srgbClr val="58585A"/>
      </a:accent5>
      <a:accent6>
        <a:srgbClr val="FAA61A"/>
      </a:accent6>
      <a:hlink>
        <a:srgbClr val="444FA2"/>
      </a:hlink>
      <a:folHlink>
        <a:srgbClr val="D9107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triangl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2024 Master Slide">
  <a:themeElements>
    <a:clrScheme name="Custom 79">
      <a:dk1>
        <a:srgbClr val="58585A"/>
      </a:dk1>
      <a:lt1>
        <a:sysClr val="window" lastClr="FFFFFF"/>
      </a:lt1>
      <a:dk2>
        <a:srgbClr val="58585A"/>
      </a:dk2>
      <a:lt2>
        <a:srgbClr val="F58220"/>
      </a:lt2>
      <a:accent1>
        <a:srgbClr val="242563"/>
      </a:accent1>
      <a:accent2>
        <a:srgbClr val="58585A"/>
      </a:accent2>
      <a:accent3>
        <a:srgbClr val="D9107D"/>
      </a:accent3>
      <a:accent4>
        <a:srgbClr val="A20055"/>
      </a:accent4>
      <a:accent5>
        <a:srgbClr val="F58220"/>
      </a:accent5>
      <a:accent6>
        <a:srgbClr val="FAA61A"/>
      </a:accent6>
      <a:hlink>
        <a:srgbClr val="58585A"/>
      </a:hlink>
      <a:folHlink>
        <a:srgbClr val="444FA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non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5_Medecision Grey PPT Template ">
  <a:themeElements>
    <a:clrScheme name="Custom 65">
      <a:dk1>
        <a:srgbClr val="D9107D"/>
      </a:dk1>
      <a:lt1>
        <a:sysClr val="window" lastClr="FFFFFF"/>
      </a:lt1>
      <a:dk2>
        <a:srgbClr val="58585A"/>
      </a:dk2>
      <a:lt2>
        <a:srgbClr val="F58220"/>
      </a:lt2>
      <a:accent1>
        <a:srgbClr val="D9107D"/>
      </a:accent1>
      <a:accent2>
        <a:srgbClr val="A20055"/>
      </a:accent2>
      <a:accent3>
        <a:srgbClr val="242563"/>
      </a:accent3>
      <a:accent4>
        <a:srgbClr val="F58220"/>
      </a:accent4>
      <a:accent5>
        <a:srgbClr val="58585A"/>
      </a:accent5>
      <a:accent6>
        <a:srgbClr val="FAA61A"/>
      </a:accent6>
      <a:hlink>
        <a:srgbClr val="444FA2"/>
      </a:hlink>
      <a:folHlink>
        <a:srgbClr val="D9107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triangl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4_2024 Master Slide">
  <a:themeElements>
    <a:clrScheme name="Custom 79">
      <a:dk1>
        <a:srgbClr val="58585A"/>
      </a:dk1>
      <a:lt1>
        <a:sysClr val="window" lastClr="FFFFFF"/>
      </a:lt1>
      <a:dk2>
        <a:srgbClr val="58585A"/>
      </a:dk2>
      <a:lt2>
        <a:srgbClr val="F58220"/>
      </a:lt2>
      <a:accent1>
        <a:srgbClr val="242563"/>
      </a:accent1>
      <a:accent2>
        <a:srgbClr val="58585A"/>
      </a:accent2>
      <a:accent3>
        <a:srgbClr val="D9107D"/>
      </a:accent3>
      <a:accent4>
        <a:srgbClr val="A20055"/>
      </a:accent4>
      <a:accent5>
        <a:srgbClr val="F58220"/>
      </a:accent5>
      <a:accent6>
        <a:srgbClr val="FAA61A"/>
      </a:accent6>
      <a:hlink>
        <a:srgbClr val="58585A"/>
      </a:hlink>
      <a:folHlink>
        <a:srgbClr val="444FA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non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_Medecision Grey PPT Template ">
  <a:themeElements>
    <a:clrScheme name="Custom 65">
      <a:dk1>
        <a:srgbClr val="D9107D"/>
      </a:dk1>
      <a:lt1>
        <a:sysClr val="window" lastClr="FFFFFF"/>
      </a:lt1>
      <a:dk2>
        <a:srgbClr val="58585A"/>
      </a:dk2>
      <a:lt2>
        <a:srgbClr val="F58220"/>
      </a:lt2>
      <a:accent1>
        <a:srgbClr val="D9107D"/>
      </a:accent1>
      <a:accent2>
        <a:srgbClr val="A20055"/>
      </a:accent2>
      <a:accent3>
        <a:srgbClr val="242563"/>
      </a:accent3>
      <a:accent4>
        <a:srgbClr val="F58220"/>
      </a:accent4>
      <a:accent5>
        <a:srgbClr val="58585A"/>
      </a:accent5>
      <a:accent6>
        <a:srgbClr val="FAA61A"/>
      </a:accent6>
      <a:hlink>
        <a:srgbClr val="444FA2"/>
      </a:hlink>
      <a:folHlink>
        <a:srgbClr val="D9107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triangl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Medecision Theme">
  <a:themeElements>
    <a:clrScheme name="Custom 79">
      <a:dk1>
        <a:srgbClr val="58585A"/>
      </a:dk1>
      <a:lt1>
        <a:sysClr val="window" lastClr="FFFFFF"/>
      </a:lt1>
      <a:dk2>
        <a:srgbClr val="58585A"/>
      </a:dk2>
      <a:lt2>
        <a:srgbClr val="F58220"/>
      </a:lt2>
      <a:accent1>
        <a:srgbClr val="242563"/>
      </a:accent1>
      <a:accent2>
        <a:srgbClr val="58585A"/>
      </a:accent2>
      <a:accent3>
        <a:srgbClr val="D9107D"/>
      </a:accent3>
      <a:accent4>
        <a:srgbClr val="A20055"/>
      </a:accent4>
      <a:accent5>
        <a:srgbClr val="F58220"/>
      </a:accent5>
      <a:accent6>
        <a:srgbClr val="FAA61A"/>
      </a:accent6>
      <a:hlink>
        <a:srgbClr val="58585A"/>
      </a:hlink>
      <a:folHlink>
        <a:srgbClr val="444FA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 cap="rnd">
          <a:noFill/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>
        <a:ln w="31750" cap="sq">
          <a:solidFill>
            <a:schemeClr val="accent1"/>
          </a:solidFill>
          <a:prstDash val="solid"/>
          <a:headEnd type="none" w="med" len="med"/>
          <a:tailEnd type="non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decision Theme" id="{9DE2C518-544A-9A4D-AB69-084F12245547}" vid="{7CC75EA7-A9D3-E145-AB60-BF3578F8943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7ef54ed-e9b2-4058-9050-8876dc061aa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3A73B99F6B8447861724FFD408D11B" ma:contentTypeVersion="13" ma:contentTypeDescription="Create a new document." ma:contentTypeScope="" ma:versionID="84fa455a227570dde62eecde61b7673d">
  <xsd:schema xmlns:xsd="http://www.w3.org/2001/XMLSchema" xmlns:xs="http://www.w3.org/2001/XMLSchema" xmlns:p="http://schemas.microsoft.com/office/2006/metadata/properties" xmlns:ns3="77ef54ed-e9b2-4058-9050-8876dc061aaa" xmlns:ns4="862cd7de-78ef-4f45-aefa-bbc86880d768" targetNamespace="http://schemas.microsoft.com/office/2006/metadata/properties" ma:root="true" ma:fieldsID="6941448ab4da14beb9d3ef31a0a20635" ns3:_="" ns4:_="">
    <xsd:import namespace="77ef54ed-e9b2-4058-9050-8876dc061aaa"/>
    <xsd:import namespace="862cd7de-78ef-4f45-aefa-bbc86880d76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_activity" minOccurs="0"/>
                <xsd:element ref="ns3:MediaServiceObjectDetectorVersions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ef54ed-e9b2-4058-9050-8876dc061aa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2cd7de-78ef-4f45-aefa-bbc86880d76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894FD70-ED6E-42E5-82F9-F8EE9CC496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EC3AFA-9923-4AEE-A9B6-1FF032070BD6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862cd7de-78ef-4f45-aefa-bbc86880d768"/>
    <ds:schemaRef ds:uri="77ef54ed-e9b2-4058-9050-8876dc061aaa"/>
  </ds:schemaRefs>
</ds:datastoreItem>
</file>

<file path=customXml/itemProps3.xml><?xml version="1.0" encoding="utf-8"?>
<ds:datastoreItem xmlns:ds="http://schemas.openxmlformats.org/officeDocument/2006/customXml" ds:itemID="{16031C6C-8BCF-4179-80CD-73744729D3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ef54ed-e9b2-4058-9050-8876dc061aaa"/>
    <ds:schemaRef ds:uri="862cd7de-78ef-4f45-aefa-bbc86880d7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69</TotalTime>
  <Words>905</Words>
  <Application>Microsoft Office PowerPoint</Application>
  <PresentationFormat>Custom</PresentationFormat>
  <Paragraphs>161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6" baseType="lpstr">
      <vt:lpstr>Aerial</vt:lpstr>
      <vt:lpstr>Arial</vt:lpstr>
      <vt:lpstr>Avenir Next</vt:lpstr>
      <vt:lpstr>Avenir Next Demi Bold</vt:lpstr>
      <vt:lpstr>Manrope</vt:lpstr>
      <vt:lpstr>Museo Sans 300</vt:lpstr>
      <vt:lpstr>Museo Sans 700</vt:lpstr>
      <vt:lpstr>2024 Master Slide</vt:lpstr>
      <vt:lpstr>1_2024 Master Slide</vt:lpstr>
      <vt:lpstr>5_2024 Master Slide</vt:lpstr>
      <vt:lpstr>Medecision Grey PPT Template </vt:lpstr>
      <vt:lpstr>2_2024 Master Slide</vt:lpstr>
      <vt:lpstr>5_Medecision Grey PPT Template </vt:lpstr>
      <vt:lpstr>4_2024 Master Slide</vt:lpstr>
      <vt:lpstr>1_Medecision Grey PPT Template </vt:lpstr>
      <vt:lpstr>Medecision Theme</vt:lpstr>
      <vt:lpstr>3_2024 Master Slide</vt:lpstr>
      <vt:lpstr>think-cell Slide</vt:lpstr>
      <vt:lpstr>PowerPoint Presentation</vt:lpstr>
      <vt:lpstr>It’s time to make your data make a difference.</vt:lpstr>
      <vt:lpstr>PowerPoint Presentation</vt:lpstr>
      <vt:lpstr>Challenges</vt:lpstr>
      <vt:lpstr>PowerPoint Presentation</vt:lpstr>
      <vt:lpstr>PowerPoint Presentation</vt:lpstr>
      <vt:lpstr>PowerPoint Presentation</vt:lpstr>
      <vt:lpstr>Medecision Proprietary and Confidential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na</dc:creator>
  <cp:lastModifiedBy>Jessica Geiger</cp:lastModifiedBy>
  <cp:revision>147</cp:revision>
  <dcterms:created xsi:type="dcterms:W3CDTF">2016-11-05T20:43:07Z</dcterms:created>
  <dcterms:modified xsi:type="dcterms:W3CDTF">2024-06-25T20:5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3A73B99F6B8447861724FFD408D11B</vt:lpwstr>
  </property>
  <property fmtid="{D5CDD505-2E9C-101B-9397-08002B2CF9AE}" pid="3" name="MediaServiceImageTags">
    <vt:lpwstr/>
  </property>
</Properties>
</file>